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5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6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7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8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9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10.xml" ContentType="application/vnd.openxmlformats-officedocument.theme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11.xml" ContentType="application/vnd.openxmlformats-officedocument.theme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12.xml" ContentType="application/vnd.openxmlformats-officedocument.theme+xml"/>
  <Override PartName="/ppt/theme/theme13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drawings/drawing1.xml" ContentType="application/vnd.openxmlformats-officedocument.drawingml.chartshapes+xml"/>
  <Override PartName="/ppt/charts/chart8.xml" ContentType="application/vnd.openxmlformats-officedocument.drawingml.chart+xml"/>
  <Override PartName="/ppt/notesSlides/notesSlide1.xml" ContentType="application/vnd.openxmlformats-officedocument.presentationml.notesSlid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theme/themeOverride1.xml" ContentType="application/vnd.openxmlformats-officedocument.themeOverride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notesSlides/notesSlide2.xml" ContentType="application/vnd.openxmlformats-officedocument.presentationml.notesSlide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notesSlides/notesSlide3.xml" ContentType="application/vnd.openxmlformats-officedocument.presentationml.notesSlide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0" r:id="rId2"/>
    <p:sldMasterId id="2147483666" r:id="rId3"/>
    <p:sldMasterId id="2147483670" r:id="rId4"/>
    <p:sldMasterId id="2147483676" r:id="rId5"/>
    <p:sldMasterId id="2147483681" r:id="rId6"/>
    <p:sldMasterId id="2147483696" r:id="rId7"/>
    <p:sldMasterId id="2147483708" r:id="rId8"/>
    <p:sldMasterId id="2147483721" r:id="rId9"/>
    <p:sldMasterId id="2147483733" r:id="rId10"/>
    <p:sldMasterId id="2147483749" r:id="rId11"/>
    <p:sldMasterId id="2147483761" r:id="rId12"/>
  </p:sldMasterIdLst>
  <p:notesMasterIdLst>
    <p:notesMasterId r:id="rId63"/>
  </p:notesMasterIdLst>
  <p:sldIdLst>
    <p:sldId id="270" r:id="rId13"/>
    <p:sldId id="417" r:id="rId14"/>
    <p:sldId id="418" r:id="rId15"/>
    <p:sldId id="420" r:id="rId16"/>
    <p:sldId id="421" r:id="rId17"/>
    <p:sldId id="422" r:id="rId18"/>
    <p:sldId id="423" r:id="rId19"/>
    <p:sldId id="424" r:id="rId20"/>
    <p:sldId id="425" r:id="rId21"/>
    <p:sldId id="426" r:id="rId22"/>
    <p:sldId id="427" r:id="rId23"/>
    <p:sldId id="428" r:id="rId24"/>
    <p:sldId id="429" r:id="rId25"/>
    <p:sldId id="430" r:id="rId26"/>
    <p:sldId id="431" r:id="rId27"/>
    <p:sldId id="432" r:id="rId28"/>
    <p:sldId id="433" r:id="rId29"/>
    <p:sldId id="434" r:id="rId30"/>
    <p:sldId id="435" r:id="rId31"/>
    <p:sldId id="436" r:id="rId32"/>
    <p:sldId id="437" r:id="rId33"/>
    <p:sldId id="452" r:id="rId34"/>
    <p:sldId id="438" r:id="rId35"/>
    <p:sldId id="439" r:id="rId36"/>
    <p:sldId id="440" r:id="rId37"/>
    <p:sldId id="441" r:id="rId38"/>
    <p:sldId id="442" r:id="rId39"/>
    <p:sldId id="443" r:id="rId40"/>
    <p:sldId id="444" r:id="rId41"/>
    <p:sldId id="445" r:id="rId42"/>
    <p:sldId id="447" r:id="rId43"/>
    <p:sldId id="448" r:id="rId44"/>
    <p:sldId id="449" r:id="rId45"/>
    <p:sldId id="450" r:id="rId46"/>
    <p:sldId id="451" r:id="rId47"/>
    <p:sldId id="331" r:id="rId48"/>
    <p:sldId id="402" r:id="rId49"/>
    <p:sldId id="405" r:id="rId50"/>
    <p:sldId id="404" r:id="rId51"/>
    <p:sldId id="406" r:id="rId52"/>
    <p:sldId id="408" r:id="rId53"/>
    <p:sldId id="409" r:id="rId54"/>
    <p:sldId id="411" r:id="rId55"/>
    <p:sldId id="412" r:id="rId56"/>
    <p:sldId id="413" r:id="rId57"/>
    <p:sldId id="414" r:id="rId58"/>
    <p:sldId id="415" r:id="rId59"/>
    <p:sldId id="407" r:id="rId60"/>
    <p:sldId id="304" r:id="rId61"/>
    <p:sldId id="276" r:id="rId62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FFC000"/>
    <a:srgbClr val="FFFF00"/>
    <a:srgbClr val="FF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D113A9D2-9D6B-4929-AA2D-F23B5EE8CBE7}" styleName="Стиль из темы 2 - акцент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Стиль из темы 2 - акцент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Стиль из темы 2 - акцент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Стиль из темы 2 - акцент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93D81CF-94F2-401A-BA57-92F5A7B2D0C5}" styleName="Средний стиль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1E171933-4619-4E11-9A3F-F7608DF75F80}" styleName="Средний стиль 1 -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17292A2E-F333-43FB-9621-5CBBE7FDCDCB}" styleName="Светлый стиль 2 - акцент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D7AC3CCA-C797-4891-BE02-D94E43425B78}" styleName="Средний стиль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Светлый стиль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 horzBarState="maximized">
    <p:restoredLeft sz="14890" autoAdjust="0"/>
    <p:restoredTop sz="92449" autoAdjust="0"/>
  </p:normalViewPr>
  <p:slideViewPr>
    <p:cSldViewPr>
      <p:cViewPr>
        <p:scale>
          <a:sx n="110" d="100"/>
          <a:sy n="110" d="100"/>
        </p:scale>
        <p:origin x="-1560" y="-15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9" Type="http://schemas.openxmlformats.org/officeDocument/2006/relationships/slide" Target="slides/slide27.xml"/><Relationship Id="rId21" Type="http://schemas.openxmlformats.org/officeDocument/2006/relationships/slide" Target="slides/slide9.xml"/><Relationship Id="rId34" Type="http://schemas.openxmlformats.org/officeDocument/2006/relationships/slide" Target="slides/slide22.xml"/><Relationship Id="rId42" Type="http://schemas.openxmlformats.org/officeDocument/2006/relationships/slide" Target="slides/slide30.xml"/><Relationship Id="rId47" Type="http://schemas.openxmlformats.org/officeDocument/2006/relationships/slide" Target="slides/slide35.xml"/><Relationship Id="rId50" Type="http://schemas.openxmlformats.org/officeDocument/2006/relationships/slide" Target="slides/slide38.xml"/><Relationship Id="rId55" Type="http://schemas.openxmlformats.org/officeDocument/2006/relationships/slide" Target="slides/slide43.xml"/><Relationship Id="rId63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4.xml"/><Relationship Id="rId29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2.xml"/><Relationship Id="rId32" Type="http://schemas.openxmlformats.org/officeDocument/2006/relationships/slide" Target="slides/slide20.xml"/><Relationship Id="rId37" Type="http://schemas.openxmlformats.org/officeDocument/2006/relationships/slide" Target="slides/slide25.xml"/><Relationship Id="rId40" Type="http://schemas.openxmlformats.org/officeDocument/2006/relationships/slide" Target="slides/slide28.xml"/><Relationship Id="rId45" Type="http://schemas.openxmlformats.org/officeDocument/2006/relationships/slide" Target="slides/slide33.xml"/><Relationship Id="rId53" Type="http://schemas.openxmlformats.org/officeDocument/2006/relationships/slide" Target="slides/slide41.xml"/><Relationship Id="rId58" Type="http://schemas.openxmlformats.org/officeDocument/2006/relationships/slide" Target="slides/slide46.xml"/><Relationship Id="rId66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slide" Target="slides/slide24.xml"/><Relationship Id="rId49" Type="http://schemas.openxmlformats.org/officeDocument/2006/relationships/slide" Target="slides/slide37.xml"/><Relationship Id="rId57" Type="http://schemas.openxmlformats.org/officeDocument/2006/relationships/slide" Target="slides/slide45.xml"/><Relationship Id="rId61" Type="http://schemas.openxmlformats.org/officeDocument/2006/relationships/slide" Target="slides/slide49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7.xml"/><Relationship Id="rId31" Type="http://schemas.openxmlformats.org/officeDocument/2006/relationships/slide" Target="slides/slide19.xml"/><Relationship Id="rId44" Type="http://schemas.openxmlformats.org/officeDocument/2006/relationships/slide" Target="slides/slide32.xml"/><Relationship Id="rId52" Type="http://schemas.openxmlformats.org/officeDocument/2006/relationships/slide" Target="slides/slide40.xml"/><Relationship Id="rId60" Type="http://schemas.openxmlformats.org/officeDocument/2006/relationships/slide" Target="slides/slide48.xml"/><Relationship Id="rId65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slide" Target="slides/slide23.xml"/><Relationship Id="rId43" Type="http://schemas.openxmlformats.org/officeDocument/2006/relationships/slide" Target="slides/slide31.xml"/><Relationship Id="rId48" Type="http://schemas.openxmlformats.org/officeDocument/2006/relationships/slide" Target="slides/slide36.xml"/><Relationship Id="rId56" Type="http://schemas.openxmlformats.org/officeDocument/2006/relationships/slide" Target="slides/slide44.xml"/><Relationship Id="rId64" Type="http://schemas.openxmlformats.org/officeDocument/2006/relationships/presProps" Target="presProp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9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slide" Target="slides/slide21.xml"/><Relationship Id="rId38" Type="http://schemas.openxmlformats.org/officeDocument/2006/relationships/slide" Target="slides/slide26.xml"/><Relationship Id="rId46" Type="http://schemas.openxmlformats.org/officeDocument/2006/relationships/slide" Target="slides/slide34.xml"/><Relationship Id="rId59" Type="http://schemas.openxmlformats.org/officeDocument/2006/relationships/slide" Target="slides/slide47.xml"/><Relationship Id="rId67" Type="http://schemas.openxmlformats.org/officeDocument/2006/relationships/tableStyles" Target="tableStyles.xml"/><Relationship Id="rId20" Type="http://schemas.openxmlformats.org/officeDocument/2006/relationships/slide" Target="slides/slide8.xml"/><Relationship Id="rId41" Type="http://schemas.openxmlformats.org/officeDocument/2006/relationships/slide" Target="slides/slide29.xml"/><Relationship Id="rId54" Type="http://schemas.openxmlformats.org/officeDocument/2006/relationships/slide" Target="slides/slide42.xml"/><Relationship Id="rId62" Type="http://schemas.openxmlformats.org/officeDocument/2006/relationships/slide" Target="slides/slide50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ikhailov\&#1042;&#1043;&#1055;%20&#1052;&#1080;&#1093;&#1072;&#1081;&#1083;&#1086;&#1074;\45%20&#1072;&#1075;&#1083;&#1086;&#1084;&#1077;&#1088;&#1072;&#1094;&#1080;&#1081;.xlsx" TargetMode="Externa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oleObject" Target="file:///\\192.168.5.15\&#1072;&#1080;&#1078;&#1082;%202017\&#1054;&#1090;&#1095;&#1077;&#1090;&#1085;&#1099;&#1077;%20&#1076;&#1086;&#1082;&#1091;&#1084;&#1077;&#1085;&#1090;&#1099;\&#1043;&#1088;&#1072;&#1092;&#1080;&#1082;&#1080;%20&#1055;&#1086;&#1083;&#1080;&#1076;&#1080;%2026.12.17.xlsx" TargetMode="Externa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Polidi\Desktop\&#1044;&#1054;&#1050;&#1059;&#1052;&#1045;&#1053;&#1058;&#1067;\&#1040;&#1048;&#1046;&#1050;%20&#1055;&#1083;&#1091;&#1090;&#1085;&#1080;&#1082;\&#1043;&#1088;&#1072;&#1092;&#1080;&#1082;&#1080;%20&#1055;&#1086;&#1083;&#1080;&#1076;&#1080;%2025.12.17.xlsx" TargetMode="Externa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oleObject" Target="file:///\\192.168.5.15\&#1072;&#1080;&#1078;&#1082;%202017\&#1054;&#1090;&#1095;&#1077;&#1090;&#1085;&#1099;&#1077;%20&#1076;&#1086;&#1082;&#1091;&#1084;&#1077;&#1085;&#1090;&#1099;\&#1043;&#1088;&#1072;&#1092;&#1080;&#1082;&#1080;%20&#1055;&#1086;&#1083;&#1080;&#1076;&#1080;%2026.12.17.xlsx" TargetMode="Externa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oleObject" Target="file:///\\192.168.5.15\&#1072;&#1080;&#1078;&#1082;%202017\&#1054;&#1090;&#1095;&#1077;&#1090;&#1085;&#1099;&#1077;%20&#1076;&#1086;&#1082;&#1091;&#1084;&#1077;&#1085;&#1090;&#1099;\&#1043;&#1088;&#1072;&#1092;&#1080;&#1082;&#1080;%20&#1055;&#1086;&#1083;&#1080;&#1076;&#1080;%2026.12.17.xlsx" TargetMode="Externa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gershovich\Documents\&#1080;&#1085;&#1076;&#1080;&#1082;&#1072;&#1090;&#1086;&#1088;&#1099;\&#1050;&#1088;&#1072;&#1089;&#1085;&#1086;&#1076;&#1072;&#1088;&#1089;&#1082;&#1072;&#1103;%20&#1072;&#1083;&#1086;&#1075;&#1084;&#1077;&#1088;&#1072;&#1094;&#1080;&#1103;\&#1056;&#1072;&#1089;&#1095;&#1077;&#1090;&#1099;_&#1050;&#1088;&#1072;&#1089;&#1085;&#1086;&#1076;&#1072;&#1088;&#1089;&#1082;&#1072;&#1103;.xlsx" TargetMode="External"/><Relationship Id="rId1" Type="http://schemas.openxmlformats.org/officeDocument/2006/relationships/themeOverride" Target="../theme/themeOverride1.xml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gershovich\Documents\&#1080;&#1085;&#1076;&#1080;&#1082;&#1072;&#1090;&#1086;&#1088;&#1099;\&#1050;&#1088;&#1072;&#1089;&#1085;&#1086;&#1076;&#1072;&#1088;&#1089;&#1082;&#1072;&#1103;%20&#1072;&#1083;&#1086;&#1075;&#1084;&#1077;&#1088;&#1072;&#1094;&#1080;&#1103;\&#1056;&#1072;&#1089;&#1095;&#1077;&#1090;&#1099;_&#1050;&#1088;&#1072;&#1089;&#1085;&#1086;&#1076;&#1072;&#1088;&#1089;&#1082;&#1072;&#1103;.xlsx" TargetMode="External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gershovich\Documents\&#1080;&#1085;&#1076;&#1080;&#1082;&#1072;&#1090;&#1086;&#1088;&#1099;\&#1050;&#1088;&#1072;&#1089;&#1085;&#1086;&#1076;&#1072;&#1088;&#1089;&#1082;&#1072;&#1103;%20&#1072;&#1083;&#1086;&#1075;&#1084;&#1077;&#1088;&#1072;&#1094;&#1080;&#1103;\&#1056;&#1072;&#1089;&#1095;&#1077;&#1090;&#1099;_&#1050;&#1088;&#1072;&#1089;&#1085;&#1086;&#1076;&#1072;&#1088;&#1089;&#1082;&#1072;&#1103;.xlsx" TargetMode="External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gershovich\Documents\&#1080;&#1085;&#1076;&#1080;&#1082;&#1072;&#1090;&#1086;&#1088;&#1099;\&#1050;&#1088;&#1072;&#1089;&#1085;&#1086;&#1076;&#1072;&#1088;&#1089;&#1082;&#1072;&#1103;%20&#1072;&#1083;&#1086;&#1075;&#1084;&#1077;&#1088;&#1072;&#1094;&#1080;&#1103;\&#1056;&#1072;&#1089;&#1095;&#1077;&#1090;&#1099;_&#1050;&#1088;&#1072;&#1089;&#1085;&#1086;&#1076;&#1072;&#1088;&#1089;&#1082;&#1072;&#1103;.xlsx" TargetMode="External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gershovich\Documents\&#1080;&#1085;&#1076;&#1080;&#1082;&#1072;&#1090;&#1086;&#1088;&#1099;\&#1050;&#1088;&#1072;&#1089;&#1085;&#1086;&#1076;&#1072;&#1088;&#1089;&#1082;&#1072;&#1103;%20&#1072;&#1083;&#1086;&#1075;&#1084;&#1077;&#1088;&#1072;&#1094;&#1080;&#1103;\&#1056;&#1072;&#1089;&#1095;&#1077;&#1090;&#1099;_&#1050;&#1088;&#1072;&#1089;&#1085;&#1086;&#1076;&#1072;&#1088;&#1089;&#1082;&#1072;&#1103;.xlsx" TargetMode="External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gershovich\Documents\&#1080;&#1085;&#1076;&#1080;&#1082;&#1072;&#1090;&#1086;&#1088;&#1099;\&#1050;&#1088;&#1072;&#1089;&#1085;&#1086;&#1076;&#1072;&#1088;&#1089;&#1082;&#1072;&#1103;%20&#1072;&#1083;&#1086;&#1075;&#1084;&#1077;&#1088;&#1072;&#1094;&#1080;&#1103;\&#1056;&#1072;&#1089;&#1095;&#1077;&#1090;&#1099;_&#1050;&#1088;&#1072;&#1089;&#1085;&#1086;&#1076;&#1072;&#1088;&#1089;&#1082;&#1072;&#1103;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ikhailov\&#1042;&#1043;&#1055;%20&#1052;&#1080;&#1093;&#1072;&#1081;&#1083;&#1086;&#1074;\&#1087;&#1086;&#1076;&#1089;&#1095;&#1077;&#1090;%20&#1087;&#1086;%20&#1089;&#1090;&#1072;&#1088;&#1086;&#1081;%20&#1084;&#1077;&#1090;&#1086;&#1076;&#1080;&#1082;&#1077;.xlsx" TargetMode="External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oleObject" Target="file:///C:\gis\csv\Directions\Krasnodar\Krasnodar_result.xlsx" TargetMode="External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gis\csv\Directions\&#1057;&#1088;&#1072;&#1074;&#1085;&#1077;&#1085;&#1080;&#1077;%20&#1075;&#1086;&#1088;&#1086;&#1076;&#1086;&#1074;.xlsx" TargetMode="External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gis\csv\Directions\&#1057;&#1088;&#1072;&#1074;&#1085;&#1077;&#1085;&#1080;&#1077;%20&#1075;&#1086;&#1088;&#1086;&#1076;&#1086;&#1074;.xlsx" TargetMode="External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gis\csv\Directions\&#1057;&#1088;&#1072;&#1074;&#1085;&#1077;&#1085;&#1080;&#1077;%20&#1075;&#1086;&#1088;&#1086;&#1076;&#1086;&#1074;.xlsx" TargetMode="External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gis\csv\Directions\&#1057;&#1088;&#1072;&#1074;&#1085;&#1077;&#1085;&#1080;&#1077;%20&#1075;&#1086;&#1088;&#1086;&#1076;&#1086;&#1074;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ikhailov\&#1042;&#1043;&#1055;%20&#1052;&#1080;&#1093;&#1072;&#1081;&#1083;&#1086;&#1074;\&#1087;&#1086;&#1076;&#1089;&#1095;&#1077;&#1090;%20&#1087;&#1086;%20&#1089;&#1090;&#1072;&#1088;&#1086;&#1081;%20&#1084;&#1077;&#1090;&#1086;&#1076;&#1080;&#1082;&#1077;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ikhailov\&#1042;&#1043;&#1055;%20&#1052;&#1080;&#1093;&#1072;&#1081;&#1083;&#1086;&#1074;\&#1087;&#1086;&#1076;&#1089;&#1095;&#1077;&#1090;%20&#1087;&#1086;%20&#1089;&#1090;&#1072;&#1088;&#1086;&#1081;%20&#1084;&#1077;&#1090;&#1086;&#1076;&#1080;&#1082;&#1077;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ikhailov\&#1042;&#1043;&#1055;%20&#1052;&#1080;&#1093;&#1072;&#1081;&#1083;&#1086;&#1074;\&#1087;&#1086;&#1076;&#1089;&#1095;&#1077;&#1090;%20&#1087;&#1086;%20&#1089;&#1090;&#1072;&#1088;&#1086;&#1081;%20&#1084;&#1077;&#1090;&#1086;&#1076;&#1080;&#1082;&#1077;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ikhailov\&#1042;&#1043;&#1055;%20&#1052;&#1080;&#1093;&#1072;&#1081;&#1083;&#1086;&#1074;\&#1087;&#1086;&#1076;&#1089;&#1095;&#1077;&#1090;%20&#1087;&#1086;%20&#1089;&#1090;&#1072;&#1088;&#1086;&#1081;%20&#1084;&#1077;&#1090;&#1086;&#1076;&#1080;&#1082;&#1077;.xlsx" TargetMode="Externa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mikhailov\&#1042;&#1043;&#1055;%20&#1052;&#1080;&#1093;&#1072;&#1081;&#1083;&#1086;&#1074;\&#1087;&#1086;&#1076;&#1089;&#1095;&#1077;&#1090;%20&#1087;&#1086;%20&#1089;&#1090;&#1072;&#1088;&#1086;&#1081;%20&#1084;&#1077;&#1090;&#1086;&#1076;&#1080;&#1082;&#1077;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&#1050;&#1085;&#1080;&#1075;&#1072;1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file:///\\192.168.5.15\&#1072;&#1080;&#1078;&#1082;%202017\&#1054;&#1090;&#1095;&#1077;&#1090;&#1085;&#1099;&#1077;%20&#1076;&#1086;&#1082;&#1091;&#1084;&#1077;&#1085;&#1090;&#1099;\&#1043;&#1088;&#1072;&#1092;&#1080;&#1082;&#1080;%20&#1055;&#1086;&#1083;&#1080;&#1076;&#1080;%2026.12.17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v>Вклад в ВВП</c:v>
          </c:tx>
          <c:spPr>
            <a:solidFill>
              <a:srgbClr val="008F00"/>
            </a:solidFill>
          </c:spPr>
          <c:invertIfNegative val="0"/>
          <c:cat>
            <c:strRef>
              <c:f>Лист6!$F$56:$F$59</c:f>
              <c:strCache>
                <c:ptCount val="4"/>
                <c:pt idx="0">
                  <c:v>группа А</c:v>
                </c:pt>
                <c:pt idx="1">
                  <c:v>группа В</c:v>
                </c:pt>
                <c:pt idx="2">
                  <c:v>группа С</c:v>
                </c:pt>
                <c:pt idx="3">
                  <c:v>Остальная экономика</c:v>
                </c:pt>
              </c:strCache>
            </c:strRef>
          </c:cat>
          <c:val>
            <c:numRef>
              <c:f>Лист6!$H$56:$H$59</c:f>
              <c:numCache>
                <c:formatCode>0.00%</c:formatCode>
                <c:ptCount val="4"/>
                <c:pt idx="0">
                  <c:v>0.27304321045018648</c:v>
                </c:pt>
                <c:pt idx="1">
                  <c:v>0.13304258192472657</c:v>
                </c:pt>
                <c:pt idx="2">
                  <c:v>3.1079393050651202E-2</c:v>
                </c:pt>
                <c:pt idx="3">
                  <c:v>0.56283481457443563</c:v>
                </c:pt>
              </c:numCache>
            </c:numRef>
          </c:val>
        </c:ser>
        <c:ser>
          <c:idx val="1"/>
          <c:order val="1"/>
          <c:tx>
            <c:v>Доля населения</c:v>
          </c:tx>
          <c:spPr>
            <a:solidFill>
              <a:srgbClr val="1CADBD"/>
            </a:solidFill>
          </c:spPr>
          <c:invertIfNegative val="0"/>
          <c:val>
            <c:numRef>
              <c:f>Лист6!$J$56:$J$59</c:f>
              <c:numCache>
                <c:formatCode>0.0%</c:formatCode>
                <c:ptCount val="4"/>
                <c:pt idx="0">
                  <c:v>0.2110034336590694</c:v>
                </c:pt>
                <c:pt idx="1">
                  <c:v>0.21875723162379276</c:v>
                </c:pt>
                <c:pt idx="2">
                  <c:v>4.3359496759111313E-2</c:v>
                </c:pt>
                <c:pt idx="3">
                  <c:v>0.52687983795802662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514005632"/>
        <c:axId val="169202816"/>
      </c:barChart>
      <c:catAx>
        <c:axId val="514005632"/>
        <c:scaling>
          <c:orientation val="minMax"/>
        </c:scaling>
        <c:delete val="0"/>
        <c:axPos val="b"/>
        <c:majorTickMark val="none"/>
        <c:minorTickMark val="none"/>
        <c:tickLblPos val="nextTo"/>
        <c:crossAx val="169202816"/>
        <c:crosses val="autoZero"/>
        <c:auto val="1"/>
        <c:lblAlgn val="ctr"/>
        <c:lblOffset val="100"/>
        <c:noMultiLvlLbl val="0"/>
      </c:catAx>
      <c:valAx>
        <c:axId val="169202816"/>
        <c:scaling>
          <c:orientation val="minMax"/>
        </c:scaling>
        <c:delete val="1"/>
        <c:axPos val="l"/>
        <c:numFmt formatCode="0.00%" sourceLinked="1"/>
        <c:majorTickMark val="none"/>
        <c:minorTickMark val="none"/>
        <c:tickLblPos val="nextTo"/>
        <c:crossAx val="514005632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[Графики Полиди 26.12.17.xlsx]Ввод жилья'!$J$94</c:f>
              <c:strCache>
                <c:ptCount val="1"/>
                <c:pt idx="0">
                  <c:v>Ввод жилья, млн кв. м в год, 2016 г.</c:v>
                </c:pt>
              </c:strCache>
            </c:strRef>
          </c:tx>
          <c:spPr>
            <a:solidFill>
              <a:srgbClr val="00FFFF"/>
            </a:solidFill>
          </c:spPr>
          <c:invertIfNegative val="0"/>
          <c:dLbls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[Графики Полиди 26.12.17.xlsx]Ввод жилья'!$A$95:$A$111</c:f>
              <c:strCache>
                <c:ptCount val="17"/>
                <c:pt idx="0">
                  <c:v>Владивостокская</c:v>
                </c:pt>
                <c:pt idx="1">
                  <c:v>Волгоградская</c:v>
                </c:pt>
                <c:pt idx="2">
                  <c:v>Пермская</c:v>
                </c:pt>
                <c:pt idx="3">
                  <c:v>Челябинская</c:v>
                </c:pt>
                <c:pt idx="4">
                  <c:v>Нижегородская</c:v>
                </c:pt>
                <c:pt idx="5">
                  <c:v>Красноярская</c:v>
                </c:pt>
                <c:pt idx="6">
                  <c:v>Саратовская</c:v>
                </c:pt>
                <c:pt idx="7">
                  <c:v>Казанская</c:v>
                </c:pt>
                <c:pt idx="8">
                  <c:v>Уфимская</c:v>
                </c:pt>
                <c:pt idx="9">
                  <c:v>Воронежская</c:v>
                </c:pt>
                <c:pt idx="10">
                  <c:v>Екатеринбургская</c:v>
                </c:pt>
                <c:pt idx="11">
                  <c:v>Самарско-Тольяттинская</c:v>
                </c:pt>
                <c:pt idx="12">
                  <c:v>Ростовская</c:v>
                </c:pt>
                <c:pt idx="13">
                  <c:v>Новосибирская</c:v>
                </c:pt>
                <c:pt idx="14">
                  <c:v>Краснодарская</c:v>
                </c:pt>
                <c:pt idx="15">
                  <c:v>Санкт-Петербургская</c:v>
                </c:pt>
                <c:pt idx="16">
                  <c:v>Московская</c:v>
                </c:pt>
              </c:strCache>
            </c:strRef>
          </c:cat>
          <c:val>
            <c:numRef>
              <c:f>'[Графики Полиди 26.12.17.xlsx]Ввод жилья'!$J$95:$J$111</c:f>
              <c:numCache>
                <c:formatCode>0.0</c:formatCode>
                <c:ptCount val="17"/>
                <c:pt idx="0">
                  <c:v>0.40031320000000004</c:v>
                </c:pt>
                <c:pt idx="1">
                  <c:v>0.54871099999999995</c:v>
                </c:pt>
                <c:pt idx="2">
                  <c:v>0.73141199999999995</c:v>
                </c:pt>
                <c:pt idx="3">
                  <c:v>0.83602500000000002</c:v>
                </c:pt>
                <c:pt idx="4">
                  <c:v>0.85434600000000005</c:v>
                </c:pt>
                <c:pt idx="5">
                  <c:v>1.0666453600000001</c:v>
                </c:pt>
                <c:pt idx="6">
                  <c:v>1.0679513999999999</c:v>
                </c:pt>
                <c:pt idx="7">
                  <c:v>1.281433</c:v>
                </c:pt>
                <c:pt idx="8">
                  <c:v>1.3512716999999999</c:v>
                </c:pt>
                <c:pt idx="9">
                  <c:v>1.5020501000000002</c:v>
                </c:pt>
                <c:pt idx="10">
                  <c:v>1.601132</c:v>
                </c:pt>
                <c:pt idx="11">
                  <c:v>1.7128822000000001</c:v>
                </c:pt>
                <c:pt idx="12">
                  <c:v>1.7788630000000001</c:v>
                </c:pt>
                <c:pt idx="13">
                  <c:v>2.1073350199999998</c:v>
                </c:pt>
                <c:pt idx="14">
                  <c:v>2.4370189999999998</c:v>
                </c:pt>
                <c:pt idx="15">
                  <c:v>3.7193529000000001</c:v>
                </c:pt>
                <c:pt idx="16">
                  <c:v>10.459871012601146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35284736"/>
        <c:axId val="235320448"/>
      </c:barChart>
      <c:catAx>
        <c:axId val="235284736"/>
        <c:scaling>
          <c:orientation val="minMax"/>
        </c:scaling>
        <c:delete val="0"/>
        <c:axPos val="l"/>
        <c:majorTickMark val="out"/>
        <c:minorTickMark val="none"/>
        <c:tickLblPos val="nextTo"/>
        <c:crossAx val="235320448"/>
        <c:crosses val="autoZero"/>
        <c:auto val="1"/>
        <c:lblAlgn val="ctr"/>
        <c:lblOffset val="100"/>
        <c:noMultiLvlLbl val="0"/>
      </c:catAx>
      <c:valAx>
        <c:axId val="235320448"/>
        <c:scaling>
          <c:orientation val="minMax"/>
        </c:scaling>
        <c:delete val="0"/>
        <c:axPos val="b"/>
        <c:numFmt formatCode="0" sourceLinked="0"/>
        <c:majorTickMark val="out"/>
        <c:minorTickMark val="none"/>
        <c:tickLblPos val="nextTo"/>
        <c:crossAx val="23528473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400">
          <a:solidFill>
            <a:schemeClr val="bg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Ввод жилья на душу'!$B$1</c:f>
              <c:strCache>
                <c:ptCount val="1"/>
                <c:pt idx="0">
                  <c:v>Ввод жилья на душу населения, 2016 г.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</c:spPr>
          <c:invertIfNegative val="0"/>
          <c:dPt>
            <c:idx val="12"/>
            <c:invertIfNegative val="0"/>
            <c:bubble3D val="0"/>
            <c:spPr>
              <a:solidFill>
                <a:srgbClr val="00FFFF"/>
              </a:solidFill>
            </c:spPr>
          </c:dPt>
          <c:dLbls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Ввод жилья на душу'!$A$2:$A$19</c:f>
              <c:strCache>
                <c:ptCount val="17"/>
                <c:pt idx="0">
                  <c:v>Краснодарская</c:v>
                </c:pt>
                <c:pt idx="1">
                  <c:v>Воронежская</c:v>
                </c:pt>
                <c:pt idx="2">
                  <c:v>Новосибирская</c:v>
                </c:pt>
                <c:pt idx="3">
                  <c:v>Уфимская</c:v>
                </c:pt>
                <c:pt idx="4">
                  <c:v>Саратовская</c:v>
                </c:pt>
                <c:pt idx="5">
                  <c:v>Ростовская</c:v>
                </c:pt>
                <c:pt idx="6">
                  <c:v>Красноярская</c:v>
                </c:pt>
                <c:pt idx="7">
                  <c:v>Казанская</c:v>
                </c:pt>
                <c:pt idx="8">
                  <c:v>Екатеринбургская</c:v>
                </c:pt>
                <c:pt idx="9">
                  <c:v>Самарско-Тольяттинская</c:v>
                </c:pt>
                <c:pt idx="10">
                  <c:v>Московская</c:v>
                </c:pt>
                <c:pt idx="11">
                  <c:v>Санкт-Петербургская</c:v>
                </c:pt>
                <c:pt idx="12">
                  <c:v>Пермская</c:v>
                </c:pt>
                <c:pt idx="13">
                  <c:v>Челябинская</c:v>
                </c:pt>
                <c:pt idx="14">
                  <c:v>Нижегородская</c:v>
                </c:pt>
                <c:pt idx="15">
                  <c:v>Волгоградская</c:v>
                </c:pt>
                <c:pt idx="16">
                  <c:v>Владивостокская</c:v>
                </c:pt>
              </c:strCache>
            </c:strRef>
          </c:cat>
          <c:val>
            <c:numRef>
              <c:f>'Ввод жилья на душу'!$B$2:$B$19</c:f>
              <c:numCache>
                <c:formatCode>0.00</c:formatCode>
                <c:ptCount val="18"/>
                <c:pt idx="0">
                  <c:v>1.7370440829412481</c:v>
                </c:pt>
                <c:pt idx="1">
                  <c:v>0.97800034899514143</c:v>
                </c:pt>
                <c:pt idx="2">
                  <c:v>0.94559159180988506</c:v>
                </c:pt>
                <c:pt idx="3">
                  <c:v>0.93241437796107962</c:v>
                </c:pt>
                <c:pt idx="4">
                  <c:v>0.86754714252872245</c:v>
                </c:pt>
                <c:pt idx="5">
                  <c:v>0.8537285711543261</c:v>
                </c:pt>
                <c:pt idx="6">
                  <c:v>0.79106104913106401</c:v>
                </c:pt>
                <c:pt idx="7">
                  <c:v>0.76858249543564683</c:v>
                </c:pt>
                <c:pt idx="8">
                  <c:v>0.72733962824697895</c:v>
                </c:pt>
                <c:pt idx="9">
                  <c:v>0.62560983805342707</c:v>
                </c:pt>
                <c:pt idx="10">
                  <c:v>0.6079351282559089</c:v>
                </c:pt>
                <c:pt idx="11">
                  <c:v>0.59424654881602135</c:v>
                </c:pt>
                <c:pt idx="12">
                  <c:v>0.5419408187217698</c:v>
                </c:pt>
                <c:pt idx="13">
                  <c:v>0.52450842921324203</c:v>
                </c:pt>
                <c:pt idx="14">
                  <c:v>0.40937108883109119</c:v>
                </c:pt>
                <c:pt idx="15">
                  <c:v>0.38937959527190386</c:v>
                </c:pt>
                <c:pt idx="16">
                  <c:v>0.3827788657191377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35421056"/>
        <c:axId val="235426944"/>
      </c:barChart>
      <c:lineChart>
        <c:grouping val="standard"/>
        <c:varyColors val="0"/>
        <c:ser>
          <c:idx val="1"/>
          <c:order val="1"/>
          <c:tx>
            <c:strRef>
              <c:f>'Ввод жилья на душу'!$C$1</c:f>
              <c:strCache>
                <c:ptCount val="1"/>
                <c:pt idx="0">
                  <c:v>Динамика ввода жилья на душу населения, 2010 - 2016 гг.</c:v>
                </c:pt>
              </c:strCache>
            </c:strRef>
          </c:tx>
          <c:spPr>
            <a:ln>
              <a:solidFill>
                <a:srgbClr val="FFFF00"/>
              </a:solidFill>
            </a:ln>
          </c:spPr>
          <c:marker>
            <c:spPr>
              <a:ln>
                <a:solidFill>
                  <a:srgbClr val="FFFF00"/>
                </a:solidFill>
              </a:ln>
            </c:spPr>
          </c:marker>
          <c:dPt>
            <c:idx val="12"/>
            <c:marker>
              <c:spPr>
                <a:solidFill>
                  <a:srgbClr val="00FFFF"/>
                </a:solidFill>
                <a:ln>
                  <a:solidFill>
                    <a:srgbClr val="FFFF00"/>
                  </a:solidFill>
                </a:ln>
              </c:spPr>
            </c:marker>
            <c:bubble3D val="0"/>
          </c:dPt>
          <c:dLbls>
            <c:dLbl>
              <c:idx val="0"/>
              <c:layout>
                <c:manualLayout>
                  <c:x val="-3.9500079354433532E-2"/>
                  <c:y val="3.054919271454704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0"/>
              <c:layout>
                <c:manualLayout>
                  <c:x val="-2.0581557984971466E-2"/>
                  <c:y val="-6.793565577030144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Ввод жилья на душу'!$A$2:$A$19</c:f>
              <c:strCache>
                <c:ptCount val="17"/>
                <c:pt idx="0">
                  <c:v>Краснодарская</c:v>
                </c:pt>
                <c:pt idx="1">
                  <c:v>Воронежская</c:v>
                </c:pt>
                <c:pt idx="2">
                  <c:v>Новосибирская</c:v>
                </c:pt>
                <c:pt idx="3">
                  <c:v>Уфимская</c:v>
                </c:pt>
                <c:pt idx="4">
                  <c:v>Саратовская</c:v>
                </c:pt>
                <c:pt idx="5">
                  <c:v>Ростовская</c:v>
                </c:pt>
                <c:pt idx="6">
                  <c:v>Красноярская</c:v>
                </c:pt>
                <c:pt idx="7">
                  <c:v>Казанская</c:v>
                </c:pt>
                <c:pt idx="8">
                  <c:v>Екатеринбургская</c:v>
                </c:pt>
                <c:pt idx="9">
                  <c:v>Самарско-Тольяттинская</c:v>
                </c:pt>
                <c:pt idx="10">
                  <c:v>Московская</c:v>
                </c:pt>
                <c:pt idx="11">
                  <c:v>Санкт-Петербургская</c:v>
                </c:pt>
                <c:pt idx="12">
                  <c:v>Пермская</c:v>
                </c:pt>
                <c:pt idx="13">
                  <c:v>Челябинская</c:v>
                </c:pt>
                <c:pt idx="14">
                  <c:v>Нижегородская</c:v>
                </c:pt>
                <c:pt idx="15">
                  <c:v>Волгоградская</c:v>
                </c:pt>
                <c:pt idx="16">
                  <c:v>Владивостокская</c:v>
                </c:pt>
              </c:strCache>
            </c:strRef>
          </c:cat>
          <c:val>
            <c:numRef>
              <c:f>'Ввод жилья на душу'!$C$2:$C$19</c:f>
              <c:numCache>
                <c:formatCode>0%</c:formatCode>
                <c:ptCount val="18"/>
                <c:pt idx="0">
                  <c:v>1.6622401474374173</c:v>
                </c:pt>
                <c:pt idx="1">
                  <c:v>1.4995736355204645</c:v>
                </c:pt>
                <c:pt idx="2">
                  <c:v>1.5282030197546699</c:v>
                </c:pt>
                <c:pt idx="3">
                  <c:v>1.372403240372001</c:v>
                </c:pt>
                <c:pt idx="4">
                  <c:v>1.1388319782719623</c:v>
                </c:pt>
                <c:pt idx="5">
                  <c:v>1.2979893925581603</c:v>
                </c:pt>
                <c:pt idx="6">
                  <c:v>1.1019045319958629</c:v>
                </c:pt>
                <c:pt idx="7">
                  <c:v>1.1411521879605275</c:v>
                </c:pt>
                <c:pt idx="8">
                  <c:v>1.0779559218328105</c:v>
                </c:pt>
                <c:pt idx="9">
                  <c:v>1.7839423497690234</c:v>
                </c:pt>
                <c:pt idx="10">
                  <c:v>0.6850085556545451</c:v>
                </c:pt>
                <c:pt idx="11">
                  <c:v>1.0482356043862322</c:v>
                </c:pt>
                <c:pt idx="12">
                  <c:v>1.4606983189989995</c:v>
                </c:pt>
                <c:pt idx="13">
                  <c:v>1.2175464360577926</c:v>
                </c:pt>
                <c:pt idx="14">
                  <c:v>1.3078785359778944</c:v>
                </c:pt>
                <c:pt idx="15">
                  <c:v>1.3049726136961943</c:v>
                </c:pt>
                <c:pt idx="16">
                  <c:v>0.9483920882146871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35442560"/>
        <c:axId val="235428480"/>
      </c:lineChart>
      <c:catAx>
        <c:axId val="235421056"/>
        <c:scaling>
          <c:orientation val="minMax"/>
        </c:scaling>
        <c:delete val="0"/>
        <c:axPos val="b"/>
        <c:majorTickMark val="out"/>
        <c:minorTickMark val="none"/>
        <c:tickLblPos val="nextTo"/>
        <c:crossAx val="235426944"/>
        <c:crosses val="autoZero"/>
        <c:auto val="1"/>
        <c:lblAlgn val="ctr"/>
        <c:lblOffset val="100"/>
        <c:noMultiLvlLbl val="0"/>
      </c:catAx>
      <c:valAx>
        <c:axId val="235426944"/>
        <c:scaling>
          <c:orientation val="minMax"/>
        </c:scaling>
        <c:delete val="0"/>
        <c:axPos val="l"/>
        <c:majorGridlines/>
        <c:numFmt formatCode="0.0" sourceLinked="0"/>
        <c:majorTickMark val="out"/>
        <c:minorTickMark val="none"/>
        <c:tickLblPos val="nextTo"/>
        <c:crossAx val="235421056"/>
        <c:crosses val="autoZero"/>
        <c:crossBetween val="between"/>
      </c:valAx>
      <c:valAx>
        <c:axId val="235428480"/>
        <c:scaling>
          <c:orientation val="minMax"/>
        </c:scaling>
        <c:delete val="0"/>
        <c:axPos val="r"/>
        <c:numFmt formatCode="0%" sourceLinked="0"/>
        <c:majorTickMark val="out"/>
        <c:minorTickMark val="none"/>
        <c:tickLblPos val="nextTo"/>
        <c:crossAx val="235442560"/>
        <c:crosses val="max"/>
        <c:crossBetween val="between"/>
      </c:valAx>
      <c:catAx>
        <c:axId val="235442560"/>
        <c:scaling>
          <c:orientation val="minMax"/>
        </c:scaling>
        <c:delete val="1"/>
        <c:axPos val="b"/>
        <c:majorTickMark val="out"/>
        <c:minorTickMark val="none"/>
        <c:tickLblPos val="nextTo"/>
        <c:crossAx val="235428480"/>
        <c:crosses val="autoZero"/>
        <c:auto val="1"/>
        <c:lblAlgn val="ctr"/>
        <c:lblOffset val="100"/>
        <c:noMultiLvlLbl val="0"/>
      </c:catAx>
    </c:plotArea>
    <c:legend>
      <c:legendPos val="b"/>
      <c:layout/>
      <c:overlay val="0"/>
    </c:legend>
    <c:plotVisOnly val="1"/>
    <c:dispBlanksAs val="gap"/>
    <c:showDLblsOverMax val="0"/>
  </c:chart>
  <c:txPr>
    <a:bodyPr/>
    <a:lstStyle/>
    <a:p>
      <a:pPr>
        <a:defRPr sz="1200">
          <a:solidFill>
            <a:schemeClr val="bg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Графики Полиди 26.12.17.xlsx]Ввод ИД'!$B$1</c:f>
              <c:strCache>
                <c:ptCount val="1"/>
                <c:pt idx="0">
                  <c:v>Ввод индустриального жилья на душу населения в ядре агломерации, кв. м, 2016 г.</c:v>
                </c:pt>
              </c:strCache>
            </c:strRef>
          </c:tx>
          <c:spPr>
            <a:solidFill>
              <a:srgbClr val="00B0F0"/>
            </a:solidFill>
          </c:spPr>
          <c:invertIfNegative val="0"/>
          <c:cat>
            <c:strRef>
              <c:f>'[Графики Полиди 26.12.17.xlsx]Ввод ИД'!$A$2:$A$17</c:f>
              <c:strCache>
                <c:ptCount val="16"/>
                <c:pt idx="0">
                  <c:v>Краснодарская</c:v>
                </c:pt>
                <c:pt idx="1">
                  <c:v>Воронежская</c:v>
                </c:pt>
                <c:pt idx="2">
                  <c:v>Новосибирская</c:v>
                </c:pt>
                <c:pt idx="3">
                  <c:v>Красноярская</c:v>
                </c:pt>
                <c:pt idx="4">
                  <c:v>Саратовская</c:v>
                </c:pt>
                <c:pt idx="5">
                  <c:v>Екатеринбургская</c:v>
                </c:pt>
                <c:pt idx="6">
                  <c:v>Ростовская</c:v>
                </c:pt>
                <c:pt idx="7">
                  <c:v>Волгоградская</c:v>
                </c:pt>
                <c:pt idx="8">
                  <c:v>Владивостокская</c:v>
                </c:pt>
                <c:pt idx="9">
                  <c:v>Казанская</c:v>
                </c:pt>
                <c:pt idx="10">
                  <c:v>Самарско-Тольяттинская</c:v>
                </c:pt>
                <c:pt idx="11">
                  <c:v>Санкт-Петербургская</c:v>
                </c:pt>
                <c:pt idx="12">
                  <c:v>Пермская</c:v>
                </c:pt>
                <c:pt idx="13">
                  <c:v>Челябинская</c:v>
                </c:pt>
                <c:pt idx="14">
                  <c:v>Уфимская</c:v>
                </c:pt>
                <c:pt idx="15">
                  <c:v>Нижегородская</c:v>
                </c:pt>
              </c:strCache>
            </c:strRef>
          </c:cat>
          <c:val>
            <c:numRef>
              <c:f>'[Графики Полиди 26.12.17.xlsx]Ввод ИД'!$B$2:$B$17</c:f>
              <c:numCache>
                <c:formatCode>General</c:formatCode>
                <c:ptCount val="16"/>
                <c:pt idx="0">
                  <c:v>2.0496446912410855</c:v>
                </c:pt>
                <c:pt idx="1">
                  <c:v>0.97302560778456648</c:v>
                </c:pt>
                <c:pt idx="2">
                  <c:v>0.8735627830403665</c:v>
                </c:pt>
                <c:pt idx="3">
                  <c:v>0.84165809969649596</c:v>
                </c:pt>
                <c:pt idx="4">
                  <c:v>0.78140990681241562</c:v>
                </c:pt>
                <c:pt idx="5">
                  <c:v>0.61727019083910051</c:v>
                </c:pt>
                <c:pt idx="6">
                  <c:v>0.55892220113851998</c:v>
                </c:pt>
                <c:pt idx="7">
                  <c:v>0.27865041820148267</c:v>
                </c:pt>
                <c:pt idx="8">
                  <c:v>0.25678691403689707</c:v>
                </c:pt>
                <c:pt idx="9">
                  <c:v>0.50162597270184228</c:v>
                </c:pt>
                <c:pt idx="10">
                  <c:v>0.58101603958400583</c:v>
                </c:pt>
                <c:pt idx="11">
                  <c:v>0.55307323813579234</c:v>
                </c:pt>
                <c:pt idx="12">
                  <c:v>0.4971753093434586</c:v>
                </c:pt>
                <c:pt idx="13">
                  <c:v>0.43221777961969604</c:v>
                </c:pt>
                <c:pt idx="14">
                  <c:v>0.38904784485897326</c:v>
                </c:pt>
                <c:pt idx="15">
                  <c:v>0.25724638817371887</c:v>
                </c:pt>
              </c:numCache>
            </c:numRef>
          </c:val>
        </c:ser>
        <c:ser>
          <c:idx val="1"/>
          <c:order val="1"/>
          <c:tx>
            <c:strRef>
              <c:f>'[Графики Полиди 26.12.17.xlsx]Ввод ИД'!$C$1</c:f>
              <c:strCache>
                <c:ptCount val="1"/>
                <c:pt idx="0">
                  <c:v>Ввод индустриального жилья на душу населения в других городских округах и поселениях агломерации, кв. м, 2016 г.</c:v>
                </c:pt>
              </c:strCache>
            </c:strRef>
          </c:tx>
          <c:spPr>
            <a:solidFill>
              <a:srgbClr val="FF0000"/>
            </a:solidFill>
          </c:spPr>
          <c:invertIfNegative val="0"/>
          <c:cat>
            <c:strRef>
              <c:f>'[Графики Полиди 26.12.17.xlsx]Ввод ИД'!$A$2:$A$17</c:f>
              <c:strCache>
                <c:ptCount val="16"/>
                <c:pt idx="0">
                  <c:v>Краснодарская</c:v>
                </c:pt>
                <c:pt idx="1">
                  <c:v>Воронежская</c:v>
                </c:pt>
                <c:pt idx="2">
                  <c:v>Новосибирская</c:v>
                </c:pt>
                <c:pt idx="3">
                  <c:v>Красноярская</c:v>
                </c:pt>
                <c:pt idx="4">
                  <c:v>Саратовская</c:v>
                </c:pt>
                <c:pt idx="5">
                  <c:v>Екатеринбургская</c:v>
                </c:pt>
                <c:pt idx="6">
                  <c:v>Ростовская</c:v>
                </c:pt>
                <c:pt idx="7">
                  <c:v>Волгоградская</c:v>
                </c:pt>
                <c:pt idx="8">
                  <c:v>Владивостокская</c:v>
                </c:pt>
                <c:pt idx="9">
                  <c:v>Казанская</c:v>
                </c:pt>
                <c:pt idx="10">
                  <c:v>Самарско-Тольяттинская</c:v>
                </c:pt>
                <c:pt idx="11">
                  <c:v>Санкт-Петербургская</c:v>
                </c:pt>
                <c:pt idx="12">
                  <c:v>Пермская</c:v>
                </c:pt>
                <c:pt idx="13">
                  <c:v>Челябинская</c:v>
                </c:pt>
                <c:pt idx="14">
                  <c:v>Уфимская</c:v>
                </c:pt>
                <c:pt idx="15">
                  <c:v>Нижегородская</c:v>
                </c:pt>
              </c:strCache>
            </c:strRef>
          </c:cat>
          <c:val>
            <c:numRef>
              <c:f>'[Графики Полиди 26.12.17.xlsx]Ввод ИД'!$C$2:$C$17</c:f>
              <c:numCache>
                <c:formatCode>General</c:formatCode>
                <c:ptCount val="16"/>
                <c:pt idx="0">
                  <c:v>0.65613708529508386</c:v>
                </c:pt>
                <c:pt idx="1">
                  <c:v>0.37932440837301362</c:v>
                </c:pt>
                <c:pt idx="2">
                  <c:v>0.42973121438624795</c:v>
                </c:pt>
                <c:pt idx="3">
                  <c:v>0.19658817850531302</c:v>
                </c:pt>
                <c:pt idx="4">
                  <c:v>0.32821708138053107</c:v>
                </c:pt>
                <c:pt idx="5">
                  <c:v>0.32000215583658204</c:v>
                </c:pt>
                <c:pt idx="6">
                  <c:v>0.26449704407089453</c:v>
                </c:pt>
                <c:pt idx="7">
                  <c:v>0.24604890906130425</c:v>
                </c:pt>
                <c:pt idx="8">
                  <c:v>0.28117617116394356</c:v>
                </c:pt>
                <c:pt idx="9">
                  <c:v>0.60762603013285077</c:v>
                </c:pt>
                <c:pt idx="10">
                  <c:v>0.11310120123141026</c:v>
                </c:pt>
                <c:pt idx="11">
                  <c:v>0.28447034885379335</c:v>
                </c:pt>
                <c:pt idx="12">
                  <c:v>0.16331232591870004</c:v>
                </c:pt>
                <c:pt idx="13">
                  <c:v>9.7328885985830838E-2</c:v>
                </c:pt>
                <c:pt idx="14">
                  <c:v>9.4853186081163443E-2</c:v>
                </c:pt>
                <c:pt idx="15">
                  <c:v>0.15449229949435567</c:v>
                </c:pt>
              </c:numCache>
            </c:numRef>
          </c:val>
        </c:ser>
        <c:ser>
          <c:idx val="2"/>
          <c:order val="2"/>
          <c:tx>
            <c:strRef>
              <c:f>'[Графики Полиди 26.12.17.xlsx]Ввод ИД'!$D$1</c:f>
              <c:strCache>
                <c:ptCount val="1"/>
                <c:pt idx="0">
                  <c:v>Ввод индустриального жилья на душу населения в сельских поселениях агломерации, кв. м, 2016 г.</c:v>
                </c:pt>
              </c:strCache>
            </c:strRef>
          </c:tx>
          <c:spPr>
            <a:solidFill>
              <a:srgbClr val="00FF00"/>
            </a:solidFill>
          </c:spPr>
          <c:invertIfNegative val="0"/>
          <c:cat>
            <c:strRef>
              <c:f>'[Графики Полиди 26.12.17.xlsx]Ввод ИД'!$A$2:$A$17</c:f>
              <c:strCache>
                <c:ptCount val="16"/>
                <c:pt idx="0">
                  <c:v>Краснодарская</c:v>
                </c:pt>
                <c:pt idx="1">
                  <c:v>Воронежская</c:v>
                </c:pt>
                <c:pt idx="2">
                  <c:v>Новосибирская</c:v>
                </c:pt>
                <c:pt idx="3">
                  <c:v>Красноярская</c:v>
                </c:pt>
                <c:pt idx="4">
                  <c:v>Саратовская</c:v>
                </c:pt>
                <c:pt idx="5">
                  <c:v>Екатеринбургская</c:v>
                </c:pt>
                <c:pt idx="6">
                  <c:v>Ростовская</c:v>
                </c:pt>
                <c:pt idx="7">
                  <c:v>Волгоградская</c:v>
                </c:pt>
                <c:pt idx="8">
                  <c:v>Владивостокская</c:v>
                </c:pt>
                <c:pt idx="9">
                  <c:v>Казанская</c:v>
                </c:pt>
                <c:pt idx="10">
                  <c:v>Самарско-Тольяттинская</c:v>
                </c:pt>
                <c:pt idx="11">
                  <c:v>Санкт-Петербургская</c:v>
                </c:pt>
                <c:pt idx="12">
                  <c:v>Пермская</c:v>
                </c:pt>
                <c:pt idx="13">
                  <c:v>Челябинская</c:v>
                </c:pt>
                <c:pt idx="14">
                  <c:v>Уфимская</c:v>
                </c:pt>
                <c:pt idx="15">
                  <c:v>Нижегородская</c:v>
                </c:pt>
              </c:strCache>
            </c:strRef>
          </c:cat>
          <c:val>
            <c:numRef>
              <c:f>'[Графики Полиди 26.12.17.xlsx]Ввод ИД'!$D$2:$D$17</c:f>
              <c:numCache>
                <c:formatCode>General</c:formatCode>
                <c:ptCount val="16"/>
                <c:pt idx="0">
                  <c:v>4.8972446669222625E-2</c:v>
                </c:pt>
                <c:pt idx="1">
                  <c:v>0.32971859025019756</c:v>
                </c:pt>
                <c:pt idx="2">
                  <c:v>0.19275171784911671</c:v>
                </c:pt>
                <c:pt idx="3">
                  <c:v>1.8817058190475189E-2</c:v>
                </c:pt>
                <c:pt idx="4">
                  <c:v>0</c:v>
                </c:pt>
                <c:pt idx="5">
                  <c:v>0</c:v>
                </c:pt>
                <c:pt idx="6">
                  <c:v>0.10184158806368027</c:v>
                </c:pt>
                <c:pt idx="7">
                  <c:v>0</c:v>
                </c:pt>
                <c:pt idx="8">
                  <c:v>9.4134433086410008E-2</c:v>
                </c:pt>
                <c:pt idx="9">
                  <c:v>0.59319667849487545</c:v>
                </c:pt>
                <c:pt idx="10">
                  <c:v>1.1074612318909016</c:v>
                </c:pt>
                <c:pt idx="11">
                  <c:v>0.49753060759062473</c:v>
                </c:pt>
                <c:pt idx="12">
                  <c:v>0.55443869557776115</c:v>
                </c:pt>
                <c:pt idx="13">
                  <c:v>0.68564764378893273</c:v>
                </c:pt>
                <c:pt idx="14">
                  <c:v>0.33713689749130871</c:v>
                </c:pt>
                <c:pt idx="15">
                  <c:v>0.8906865503657849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35474304"/>
        <c:axId val="235488384"/>
      </c:barChart>
      <c:catAx>
        <c:axId val="235474304"/>
        <c:scaling>
          <c:orientation val="minMax"/>
        </c:scaling>
        <c:delete val="0"/>
        <c:axPos val="b"/>
        <c:majorTickMark val="out"/>
        <c:minorTickMark val="none"/>
        <c:tickLblPos val="nextTo"/>
        <c:crossAx val="235488384"/>
        <c:crosses val="autoZero"/>
        <c:auto val="1"/>
        <c:lblAlgn val="ctr"/>
        <c:lblOffset val="100"/>
        <c:noMultiLvlLbl val="0"/>
      </c:catAx>
      <c:valAx>
        <c:axId val="235488384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235474304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txPr>
    <a:bodyPr/>
    <a:lstStyle/>
    <a:p>
      <a:pPr>
        <a:defRPr>
          <a:solidFill>
            <a:schemeClr val="bg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Графики Полиди 26.12.17.xlsx]Ввод на млн доходов 2'!$R$1</c:f>
              <c:strCache>
                <c:ptCount val="1"/>
                <c:pt idx="0">
                  <c:v>Ввод жилья на 1 млн реальных доходов населения агломерации, кв. м, 2010 г.</c:v>
                </c:pt>
              </c:strCache>
            </c:strRef>
          </c:tx>
          <c:spPr>
            <a:solidFill>
              <a:srgbClr val="FF0000"/>
            </a:solidFill>
          </c:spPr>
          <c:invertIfNegative val="0"/>
          <c:cat>
            <c:strRef>
              <c:f>'[Графики Полиди 26.12.17.xlsx]Ввод на млн доходов 2'!$A$2:$A$19</c:f>
              <c:strCache>
                <c:ptCount val="18"/>
                <c:pt idx="0">
                  <c:v>Краснодарская</c:v>
                </c:pt>
                <c:pt idx="1">
                  <c:v>Саратовская</c:v>
                </c:pt>
                <c:pt idx="2">
                  <c:v>Новосибирская</c:v>
                </c:pt>
                <c:pt idx="3">
                  <c:v>Воронежская</c:v>
                </c:pt>
                <c:pt idx="4">
                  <c:v>Красноярская</c:v>
                </c:pt>
                <c:pt idx="5">
                  <c:v>Ростовская</c:v>
                </c:pt>
                <c:pt idx="6">
                  <c:v>Уфимская</c:v>
                </c:pt>
                <c:pt idx="7">
                  <c:v>Самарско-Тольяттинская</c:v>
                </c:pt>
                <c:pt idx="8">
                  <c:v>Казанская</c:v>
                </c:pt>
                <c:pt idx="9">
                  <c:v>Челябинская</c:v>
                </c:pt>
                <c:pt idx="10">
                  <c:v>Россия</c:v>
                </c:pt>
                <c:pt idx="11">
                  <c:v>Екатеринбургская</c:v>
                </c:pt>
                <c:pt idx="12">
                  <c:v>Пермская</c:v>
                </c:pt>
                <c:pt idx="13">
                  <c:v>Волгоградская</c:v>
                </c:pt>
                <c:pt idx="14">
                  <c:v>Санкт-Петербургская</c:v>
                </c:pt>
                <c:pt idx="15">
                  <c:v>Нижегородская</c:v>
                </c:pt>
                <c:pt idx="16">
                  <c:v>Московская</c:v>
                </c:pt>
                <c:pt idx="17">
                  <c:v>Владивостокская</c:v>
                </c:pt>
              </c:strCache>
            </c:strRef>
          </c:cat>
          <c:val>
            <c:numRef>
              <c:f>'[Графики Полиди 26.12.17.xlsx]Ввод на млн доходов 2'!$R$2:$R$19</c:f>
              <c:numCache>
                <c:formatCode>0.00</c:formatCode>
                <c:ptCount val="18"/>
                <c:pt idx="0">
                  <c:v>1.9635897599848935</c:v>
                </c:pt>
                <c:pt idx="1">
                  <c:v>2.5027167987851282</c:v>
                </c:pt>
                <c:pt idx="2">
                  <c:v>1.8755728077103324</c:v>
                </c:pt>
                <c:pt idx="3">
                  <c:v>2.0714170742481257</c:v>
                </c:pt>
                <c:pt idx="4">
                  <c:v>1.7766276192546371</c:v>
                </c:pt>
                <c:pt idx="5">
                  <c:v>1.6547167468478838</c:v>
                </c:pt>
                <c:pt idx="6">
                  <c:v>1.1715123315324798</c:v>
                </c:pt>
                <c:pt idx="7">
                  <c:v>0.83546162666542623</c:v>
                </c:pt>
                <c:pt idx="8">
                  <c:v>1.6025460225240538</c:v>
                </c:pt>
                <c:pt idx="9">
                  <c:v>1.0361649267321054</c:v>
                </c:pt>
                <c:pt idx="10" formatCode="General">
                  <c:v>1.1299999999999999</c:v>
                </c:pt>
                <c:pt idx="11">
                  <c:v>1.0698337044159147</c:v>
                </c:pt>
                <c:pt idx="12">
                  <c:v>0.70941934347227742</c:v>
                </c:pt>
                <c:pt idx="13">
                  <c:v>0.83733443626616477</c:v>
                </c:pt>
                <c:pt idx="14">
                  <c:v>1.2953280251871147</c:v>
                </c:pt>
                <c:pt idx="15">
                  <c:v>0.80578876064570748</c:v>
                </c:pt>
                <c:pt idx="16">
                  <c:v>0.67621265559920074</c:v>
                </c:pt>
                <c:pt idx="17">
                  <c:v>1.0305504506130463</c:v>
                </c:pt>
              </c:numCache>
            </c:numRef>
          </c:val>
        </c:ser>
        <c:ser>
          <c:idx val="1"/>
          <c:order val="1"/>
          <c:tx>
            <c:strRef>
              <c:f>'[Графики Полиди 26.12.17.xlsx]Ввод на млн доходов 2'!$X$1</c:f>
              <c:strCache>
                <c:ptCount val="1"/>
                <c:pt idx="0">
                  <c:v>Ввод жилья на 1 млн реальных доходов населения агломерации, кв. м, 2016 г.</c:v>
                </c:pt>
              </c:strCache>
            </c:strRef>
          </c:tx>
          <c:spPr>
            <a:solidFill>
              <a:srgbClr val="FFC000"/>
            </a:solidFill>
          </c:spPr>
          <c:invertIfNegative val="0"/>
          <c:cat>
            <c:strRef>
              <c:f>'[Графики Полиди 26.12.17.xlsx]Ввод на млн доходов 2'!$A$2:$A$19</c:f>
              <c:strCache>
                <c:ptCount val="18"/>
                <c:pt idx="0">
                  <c:v>Краснодарская</c:v>
                </c:pt>
                <c:pt idx="1">
                  <c:v>Саратовская</c:v>
                </c:pt>
                <c:pt idx="2">
                  <c:v>Новосибирская</c:v>
                </c:pt>
                <c:pt idx="3">
                  <c:v>Воронежская</c:v>
                </c:pt>
                <c:pt idx="4">
                  <c:v>Красноярская</c:v>
                </c:pt>
                <c:pt idx="5">
                  <c:v>Ростовская</c:v>
                </c:pt>
                <c:pt idx="6">
                  <c:v>Уфимская</c:v>
                </c:pt>
                <c:pt idx="7">
                  <c:v>Самарско-Тольяттинская</c:v>
                </c:pt>
                <c:pt idx="8">
                  <c:v>Казанская</c:v>
                </c:pt>
                <c:pt idx="9">
                  <c:v>Челябинская</c:v>
                </c:pt>
                <c:pt idx="10">
                  <c:v>Россия</c:v>
                </c:pt>
                <c:pt idx="11">
                  <c:v>Екатеринбургская</c:v>
                </c:pt>
                <c:pt idx="12">
                  <c:v>Пермская</c:v>
                </c:pt>
                <c:pt idx="13">
                  <c:v>Волгоградская</c:v>
                </c:pt>
                <c:pt idx="14">
                  <c:v>Санкт-Петербургская</c:v>
                </c:pt>
                <c:pt idx="15">
                  <c:v>Нижегородская</c:v>
                </c:pt>
                <c:pt idx="16">
                  <c:v>Московская</c:v>
                </c:pt>
                <c:pt idx="17">
                  <c:v>Владивостокская</c:v>
                </c:pt>
              </c:strCache>
            </c:strRef>
          </c:cat>
          <c:val>
            <c:numRef>
              <c:f>'[Графики Полиди 26.12.17.xlsx]Ввод на млн доходов 2'!$X$2:$X$19</c:f>
              <c:numCache>
                <c:formatCode>0.00</c:formatCode>
                <c:ptCount val="18"/>
                <c:pt idx="0">
                  <c:v>3.203297355315414</c:v>
                </c:pt>
                <c:pt idx="1">
                  <c:v>2.9585588405074907</c:v>
                </c:pt>
                <c:pt idx="2">
                  <c:v>2.8457343019538528</c:v>
                </c:pt>
                <c:pt idx="3">
                  <c:v>2.5747831520132234</c:v>
                </c:pt>
                <c:pt idx="4">
                  <c:v>2.3332299055755068</c:v>
                </c:pt>
                <c:pt idx="5">
                  <c:v>2.0820708374986476</c:v>
                </c:pt>
                <c:pt idx="6">
                  <c:v>2.0470147622921306</c:v>
                </c:pt>
                <c:pt idx="7">
                  <c:v>1.8604465725180399</c:v>
                </c:pt>
                <c:pt idx="8">
                  <c:v>1.7320737820952192</c:v>
                </c:pt>
                <c:pt idx="9">
                  <c:v>1.6882990900658681</c:v>
                </c:pt>
                <c:pt idx="10" formatCode="General">
                  <c:v>1.48</c:v>
                </c:pt>
                <c:pt idx="11">
                  <c:v>1.4122868077787605</c:v>
                </c:pt>
                <c:pt idx="12">
                  <c:v>1.2647542531052682</c:v>
                </c:pt>
                <c:pt idx="13">
                  <c:v>1.2598252226635125</c:v>
                </c:pt>
                <c:pt idx="14">
                  <c:v>1.2454815231616576</c:v>
                </c:pt>
                <c:pt idx="15">
                  <c:v>0.98245777404983314</c:v>
                </c:pt>
                <c:pt idx="16">
                  <c:v>0.9416990668090145</c:v>
                </c:pt>
                <c:pt idx="17">
                  <c:v>0.8732453434414533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35541632"/>
        <c:axId val="235543168"/>
      </c:barChart>
      <c:lineChart>
        <c:grouping val="standard"/>
        <c:varyColors val="0"/>
        <c:ser>
          <c:idx val="2"/>
          <c:order val="2"/>
          <c:tx>
            <c:strRef>
              <c:f>'[Графики Полиди 26.12.17.xlsx]Ввод на млн доходов 2'!$Y$1</c:f>
              <c:strCache>
                <c:ptCount val="1"/>
                <c:pt idx="0">
                  <c:v>Темп роста показателя в 2010-2016 гг.</c:v>
                </c:pt>
              </c:strCache>
            </c:strRef>
          </c:tx>
          <c:spPr>
            <a:ln>
              <a:solidFill>
                <a:srgbClr val="FFFF00"/>
              </a:solidFill>
            </a:ln>
          </c:spPr>
          <c:marker>
            <c:symbol val="none"/>
          </c:marker>
          <c:dLbls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[Графики Полиди 26.12.17.xlsx]Ввод на млн доходов 2'!$A$2:$A$19</c:f>
              <c:strCache>
                <c:ptCount val="18"/>
                <c:pt idx="0">
                  <c:v>Краснодарская</c:v>
                </c:pt>
                <c:pt idx="1">
                  <c:v>Саратовская</c:v>
                </c:pt>
                <c:pt idx="2">
                  <c:v>Новосибирская</c:v>
                </c:pt>
                <c:pt idx="3">
                  <c:v>Воронежская</c:v>
                </c:pt>
                <c:pt idx="4">
                  <c:v>Красноярская</c:v>
                </c:pt>
                <c:pt idx="5">
                  <c:v>Ростовская</c:v>
                </c:pt>
                <c:pt idx="6">
                  <c:v>Уфимская</c:v>
                </c:pt>
                <c:pt idx="7">
                  <c:v>Самарско-Тольяттинская</c:v>
                </c:pt>
                <c:pt idx="8">
                  <c:v>Казанская</c:v>
                </c:pt>
                <c:pt idx="9">
                  <c:v>Челябинская</c:v>
                </c:pt>
                <c:pt idx="10">
                  <c:v>Россия</c:v>
                </c:pt>
                <c:pt idx="11">
                  <c:v>Екатеринбургская</c:v>
                </c:pt>
                <c:pt idx="12">
                  <c:v>Пермская</c:v>
                </c:pt>
                <c:pt idx="13">
                  <c:v>Волгоградская</c:v>
                </c:pt>
                <c:pt idx="14">
                  <c:v>Санкт-Петербургская</c:v>
                </c:pt>
                <c:pt idx="15">
                  <c:v>Нижегородская</c:v>
                </c:pt>
                <c:pt idx="16">
                  <c:v>Московская</c:v>
                </c:pt>
                <c:pt idx="17">
                  <c:v>Владивостокская</c:v>
                </c:pt>
              </c:strCache>
            </c:strRef>
          </c:cat>
          <c:val>
            <c:numRef>
              <c:f>'[Графики Полиди 26.12.17.xlsx]Ввод на млн доходов 2'!$Y$2:$Y$19</c:f>
              <c:numCache>
                <c:formatCode>0%</c:formatCode>
                <c:ptCount val="18"/>
                <c:pt idx="0">
                  <c:v>1.6313475556829438</c:v>
                </c:pt>
                <c:pt idx="1">
                  <c:v>1.1821388828107271</c:v>
                </c:pt>
                <c:pt idx="2">
                  <c:v>1.5172614415474903</c:v>
                </c:pt>
                <c:pt idx="3">
                  <c:v>1.24300566217347</c:v>
                </c:pt>
                <c:pt idx="4">
                  <c:v>1.3132914744139719</c:v>
                </c:pt>
                <c:pt idx="5">
                  <c:v>1.2582641962528285</c:v>
                </c:pt>
                <c:pt idx="6">
                  <c:v>1.7473266880719793</c:v>
                </c:pt>
                <c:pt idx="7">
                  <c:v>2.2268486225317505</c:v>
                </c:pt>
                <c:pt idx="8">
                  <c:v>1.0808262338495314</c:v>
                </c:pt>
                <c:pt idx="9">
                  <c:v>1.6293729371737058</c:v>
                </c:pt>
                <c:pt idx="10">
                  <c:v>1.3097345132743363</c:v>
                </c:pt>
                <c:pt idx="11">
                  <c:v>1.3200993780148393</c:v>
                </c:pt>
                <c:pt idx="12">
                  <c:v>1.7828020404897404</c:v>
                </c:pt>
                <c:pt idx="13">
                  <c:v>1.5045663573581367</c:v>
                </c:pt>
                <c:pt idx="14">
                  <c:v>0.96151824012434495</c:v>
                </c:pt>
                <c:pt idx="15">
                  <c:v>1.2192497860885456</c:v>
                </c:pt>
                <c:pt idx="16">
                  <c:v>1.3926078712244194</c:v>
                </c:pt>
                <c:pt idx="17">
                  <c:v>0.8473581695316163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35612032"/>
        <c:axId val="235610496"/>
      </c:lineChart>
      <c:catAx>
        <c:axId val="235541632"/>
        <c:scaling>
          <c:orientation val="minMax"/>
        </c:scaling>
        <c:delete val="0"/>
        <c:axPos val="b"/>
        <c:majorTickMark val="out"/>
        <c:minorTickMark val="none"/>
        <c:tickLblPos val="nextTo"/>
        <c:crossAx val="235543168"/>
        <c:crosses val="autoZero"/>
        <c:auto val="1"/>
        <c:lblAlgn val="ctr"/>
        <c:lblOffset val="100"/>
        <c:noMultiLvlLbl val="0"/>
      </c:catAx>
      <c:valAx>
        <c:axId val="235543168"/>
        <c:scaling>
          <c:orientation val="minMax"/>
        </c:scaling>
        <c:delete val="0"/>
        <c:axPos val="l"/>
        <c:majorGridlines/>
        <c:numFmt formatCode="0.00" sourceLinked="1"/>
        <c:majorTickMark val="out"/>
        <c:minorTickMark val="none"/>
        <c:tickLblPos val="nextTo"/>
        <c:crossAx val="235541632"/>
        <c:crosses val="autoZero"/>
        <c:crossBetween val="between"/>
      </c:valAx>
      <c:valAx>
        <c:axId val="235610496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crossAx val="235612032"/>
        <c:crosses val="max"/>
        <c:crossBetween val="between"/>
      </c:valAx>
      <c:catAx>
        <c:axId val="235612032"/>
        <c:scaling>
          <c:orientation val="minMax"/>
        </c:scaling>
        <c:delete val="1"/>
        <c:axPos val="b"/>
        <c:majorTickMark val="out"/>
        <c:minorTickMark val="none"/>
        <c:tickLblPos val="nextTo"/>
        <c:crossAx val="235610496"/>
        <c:crosses val="autoZero"/>
        <c:auto val="1"/>
        <c:lblAlgn val="ctr"/>
        <c:lblOffset val="100"/>
        <c:noMultiLvlLbl val="0"/>
      </c:catAx>
    </c:plotArea>
    <c:legend>
      <c:legendPos val="b"/>
      <c:layout/>
      <c:overlay val="0"/>
    </c:legend>
    <c:plotVisOnly val="1"/>
    <c:dispBlanksAs val="gap"/>
    <c:showDLblsOverMax val="0"/>
  </c:chart>
  <c:txPr>
    <a:bodyPr/>
    <a:lstStyle/>
    <a:p>
      <a:pPr>
        <a:defRPr sz="1100">
          <a:solidFill>
            <a:schemeClr val="bg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ru-RU" sz="1100" b="1" i="0" baseline="0" dirty="0" smtClean="0">
                <a:effectLst/>
              </a:rPr>
              <a:t>Инвестиции в жилищное строительство </a:t>
            </a:r>
            <a:endParaRPr lang="ru-RU" sz="1100" dirty="0" smtClean="0">
              <a:effectLst/>
            </a:endParaRPr>
          </a:p>
          <a:p>
            <a:pPr>
              <a:defRPr/>
            </a:pPr>
            <a:r>
              <a:rPr lang="ru-RU" sz="1100" b="1" i="0" baseline="0" dirty="0" smtClean="0">
                <a:effectLst/>
              </a:rPr>
              <a:t>в 2016 г., тыс. руб. на душу населения</a:t>
            </a:r>
            <a:endParaRPr lang="ru-RU" sz="1100" dirty="0">
              <a:effectLst/>
            </a:endParaRPr>
          </a:p>
        </c:rich>
      </c:tx>
      <c:layout>
        <c:manualLayout>
          <c:xMode val="edge"/>
          <c:yMode val="edge"/>
          <c:x val="0.12005384325337709"/>
          <c:y val="1.7076695608304167E-2"/>
        </c:manualLayout>
      </c:layout>
      <c:overlay val="1"/>
    </c:title>
    <c:autoTitleDeleted val="0"/>
    <c:plotArea>
      <c:layout>
        <c:manualLayout>
          <c:layoutTarget val="inner"/>
          <c:xMode val="edge"/>
          <c:yMode val="edge"/>
          <c:x val="0.12371133476950499"/>
          <c:y val="0.17076695608304168"/>
          <c:w val="0.83945270785156978"/>
          <c:h val="0.50006400399298856"/>
        </c:manualLayout>
      </c:layout>
      <c:barChart>
        <c:barDir val="col"/>
        <c:grouping val="clustered"/>
        <c:varyColors val="0"/>
        <c:ser>
          <c:idx val="0"/>
          <c:order val="0"/>
          <c:invertIfNegative val="0"/>
          <c:dPt>
            <c:idx val="2"/>
            <c:invertIfNegative val="0"/>
            <c:bubble3D val="0"/>
            <c:spPr>
              <a:solidFill>
                <a:schemeClr val="accent3"/>
              </a:solidFill>
            </c:spPr>
          </c:dPt>
          <c:dPt>
            <c:idx val="8"/>
            <c:invertIfNegative val="0"/>
            <c:bubble3D val="0"/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84,8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57,3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64,</a:t>
                    </a:r>
                    <a:r>
                      <a:rPr lang="ru-RU" smtClean="0"/>
                      <a:t>1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42,</a:t>
                    </a:r>
                    <a:r>
                      <a:rPr lang="ru-RU" smtClean="0"/>
                      <a:t>2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23,</a:t>
                    </a:r>
                    <a:r>
                      <a:rPr lang="ru-RU" smtClean="0"/>
                      <a:t>9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9,</a:t>
                    </a:r>
                    <a:r>
                      <a:rPr lang="ru-RU" smtClean="0"/>
                      <a:t>9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7,</a:t>
                    </a:r>
                    <a:r>
                      <a:rPr lang="ru-RU" smtClean="0"/>
                      <a:t>9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3.3487233980841083E-3"/>
                  <c:y val="-2.9469203377240318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,9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6.6974467961683397E-3"/>
                  <c:y val="-3.6836504221550402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Инвестиции_жилье!$A$28:$A$36</c:f>
              <c:strCache>
                <c:ptCount val="9"/>
                <c:pt idx="0">
                  <c:v>ГО Краснодар</c:v>
                </c:pt>
                <c:pt idx="1">
                  <c:v>Тахтамукайский район</c:v>
                </c:pt>
                <c:pt idx="2">
                  <c:v>По агломерации</c:v>
                </c:pt>
                <c:pt idx="3">
                  <c:v>ГО Горячий Ключ</c:v>
                </c:pt>
                <c:pt idx="4">
                  <c:v>ГО Адыгейск</c:v>
                </c:pt>
                <c:pt idx="5">
                  <c:v>Усть-Лабинский район</c:v>
                </c:pt>
                <c:pt idx="6">
                  <c:v>Динской район</c:v>
                </c:pt>
                <c:pt idx="7">
                  <c:v>Теучежский район</c:v>
                </c:pt>
                <c:pt idx="8">
                  <c:v>Красногвардейский район</c:v>
                </c:pt>
              </c:strCache>
            </c:strRef>
          </c:cat>
          <c:val>
            <c:numRef>
              <c:f>Инвестиции_жилье!$B$28:$B$36</c:f>
              <c:numCache>
                <c:formatCode>General</c:formatCode>
                <c:ptCount val="9"/>
                <c:pt idx="0">
                  <c:v>84.812742939119147</c:v>
                </c:pt>
                <c:pt idx="1">
                  <c:v>57.305033576179923</c:v>
                </c:pt>
                <c:pt idx="2">
                  <c:v>64.056768738297137</c:v>
                </c:pt>
                <c:pt idx="3">
                  <c:v>42.164987031360532</c:v>
                </c:pt>
                <c:pt idx="4">
                  <c:v>23.880629575885493</c:v>
                </c:pt>
                <c:pt idx="5">
                  <c:v>9.8700136673847325</c:v>
                </c:pt>
                <c:pt idx="6">
                  <c:v>7.8673278934533863</c:v>
                </c:pt>
                <c:pt idx="7">
                  <c:v>1.9197886887745379</c:v>
                </c:pt>
                <c:pt idx="8">
                  <c:v>1.0430153036824485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35639552"/>
        <c:axId val="235737088"/>
      </c:barChart>
      <c:catAx>
        <c:axId val="235639552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900"/>
            </a:pPr>
            <a:endParaRPr lang="ru-RU"/>
          </a:p>
        </c:txPr>
        <c:crossAx val="235737088"/>
        <c:crosses val="autoZero"/>
        <c:auto val="1"/>
        <c:lblAlgn val="ctr"/>
        <c:lblOffset val="100"/>
        <c:noMultiLvlLbl val="0"/>
      </c:catAx>
      <c:valAx>
        <c:axId val="2357370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900"/>
            </a:pPr>
            <a:endParaRPr lang="ru-RU"/>
          </a:p>
        </c:txPr>
        <c:crossAx val="23563955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2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ru-RU" sz="1100" b="1" i="0" baseline="0" dirty="0" smtClean="0">
                <a:effectLst/>
              </a:rPr>
              <a:t>Расходы местных бюджетов на ЖКХ, транспорт и дорожное хозяйство в 2016 г., тыс. руб. на душу населения</a:t>
            </a:r>
            <a:endParaRPr lang="ru-RU" sz="1100" dirty="0">
              <a:effectLst/>
            </a:endParaRPr>
          </a:p>
        </c:rich>
      </c:tx>
      <c:layout>
        <c:manualLayout>
          <c:xMode val="edge"/>
          <c:yMode val="edge"/>
          <c:x val="0.12272720874843035"/>
          <c:y val="2.6824001960053058E-2"/>
        </c:manualLayout>
      </c:layout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invertIfNegative val="0"/>
          <c:dPt>
            <c:idx val="2"/>
            <c:invertIfNegative val="0"/>
            <c:bubble3D val="0"/>
            <c:spPr>
              <a:solidFill>
                <a:schemeClr val="accent3"/>
              </a:solidFill>
            </c:spPr>
          </c:dPt>
          <c:dPt>
            <c:idx val="8"/>
            <c:invertIfNegative val="0"/>
            <c:bubble3D val="0"/>
          </c:dPt>
          <c:cat>
            <c:strRef>
              <c:f>Инвестиции_инфра!$A$27:$A$35</c:f>
              <c:strCache>
                <c:ptCount val="9"/>
                <c:pt idx="0">
                  <c:v>ГО Краснодар</c:v>
                </c:pt>
                <c:pt idx="1">
                  <c:v>Тахтамукайский район</c:v>
                </c:pt>
                <c:pt idx="2">
                  <c:v>По агломераци</c:v>
                </c:pt>
                <c:pt idx="3">
                  <c:v>ГО Горячий Ключ</c:v>
                </c:pt>
                <c:pt idx="4">
                  <c:v>ГО Адыгейск</c:v>
                </c:pt>
                <c:pt idx="5">
                  <c:v>Усть-Лабинский район</c:v>
                </c:pt>
                <c:pt idx="6">
                  <c:v>Динской район</c:v>
                </c:pt>
                <c:pt idx="7">
                  <c:v>Теучежский район</c:v>
                </c:pt>
                <c:pt idx="8">
                  <c:v>Красногвардейский район</c:v>
                </c:pt>
              </c:strCache>
            </c:strRef>
          </c:cat>
          <c:val>
            <c:numRef>
              <c:f>Инвестиции_инфра!$B$27:$B$35</c:f>
              <c:numCache>
                <c:formatCode>0.00</c:formatCode>
                <c:ptCount val="9"/>
                <c:pt idx="0">
                  <c:v>5.8210275823853319</c:v>
                </c:pt>
                <c:pt idx="1">
                  <c:v>1.336395312005068</c:v>
                </c:pt>
                <c:pt idx="2">
                  <c:v>4.161147894215766</c:v>
                </c:pt>
                <c:pt idx="3">
                  <c:v>2.4263679949697399</c:v>
                </c:pt>
                <c:pt idx="4">
                  <c:v>1.7729041619945913</c:v>
                </c:pt>
                <c:pt idx="5">
                  <c:v>0.1218116978331312</c:v>
                </c:pt>
                <c:pt idx="6">
                  <c:v>9.9368714197076602E-2</c:v>
                </c:pt>
                <c:pt idx="7">
                  <c:v>0.18462931198780255</c:v>
                </c:pt>
                <c:pt idx="8">
                  <c:v>0.8322971465008768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61235072"/>
        <c:axId val="261236608"/>
      </c:barChart>
      <c:catAx>
        <c:axId val="261235072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900"/>
            </a:pPr>
            <a:endParaRPr lang="ru-RU"/>
          </a:p>
        </c:txPr>
        <c:crossAx val="261236608"/>
        <c:crosses val="autoZero"/>
        <c:auto val="1"/>
        <c:lblAlgn val="ctr"/>
        <c:lblOffset val="100"/>
        <c:noMultiLvlLbl val="0"/>
      </c:catAx>
      <c:valAx>
        <c:axId val="261236608"/>
        <c:scaling>
          <c:orientation val="minMax"/>
        </c:scaling>
        <c:delete val="0"/>
        <c:axPos val="l"/>
        <c:majorGridlines/>
        <c:numFmt formatCode="0.00" sourceLinked="1"/>
        <c:majorTickMark val="none"/>
        <c:minorTickMark val="none"/>
        <c:tickLblPos val="nextTo"/>
        <c:txPr>
          <a:bodyPr/>
          <a:lstStyle/>
          <a:p>
            <a:pPr>
              <a:defRPr sz="900"/>
            </a:pPr>
            <a:endParaRPr lang="ru-RU"/>
          </a:p>
        </c:txPr>
        <c:crossAx val="26123507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100"/>
            </a:pPr>
            <a:r>
              <a:rPr lang="ru-RU" sz="1100" dirty="0"/>
              <a:t>Обеспеченность жильем в 2016 г., кв. м на человека</a:t>
            </a:r>
          </a:p>
        </c:rich>
      </c:tx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invertIfNegative val="0"/>
          <c:dPt>
            <c:idx val="2"/>
            <c:invertIfNegative val="0"/>
            <c:bubble3D val="0"/>
            <c:spPr>
              <a:solidFill>
                <a:schemeClr val="accent3"/>
              </a:solidFill>
            </c:spPr>
          </c:dPt>
          <c:dPt>
            <c:idx val="8"/>
            <c:invertIfNegative val="0"/>
            <c:bubble3D val="0"/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27,6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31,9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27,1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26,6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19,1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24,</a:t>
                    </a:r>
                    <a:r>
                      <a:rPr lang="ru-RU" smtClean="0"/>
                      <a:t>7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26,</a:t>
                    </a:r>
                    <a:r>
                      <a:rPr lang="ru-RU" smtClean="0"/>
                      <a:t>1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0"/>
                  <c:y val="-7.3782537300122672E-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21,3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/>
              <c:tx>
                <c:rich>
                  <a:bodyPr/>
                  <a:lstStyle/>
                  <a:p>
                    <a:r>
                      <a:rPr lang="en-US" smtClean="0"/>
                      <a:t>22,</a:t>
                    </a:r>
                    <a:r>
                      <a:rPr lang="ru-RU" smtClean="0"/>
                      <a:t>6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Обеспеченность!$A$56:$A$64</c:f>
              <c:strCache>
                <c:ptCount val="9"/>
                <c:pt idx="0">
                  <c:v>город Краснодар</c:v>
                </c:pt>
                <c:pt idx="1">
                  <c:v>Тахтамукайский район</c:v>
                </c:pt>
                <c:pt idx="2">
                  <c:v>По агломерации</c:v>
                </c:pt>
                <c:pt idx="3">
                  <c:v>город Горячий Ключ</c:v>
                </c:pt>
                <c:pt idx="4">
                  <c:v>город Адыгейск</c:v>
                </c:pt>
                <c:pt idx="5">
                  <c:v>Усть-Лабинский район</c:v>
                </c:pt>
                <c:pt idx="6">
                  <c:v>Динской район</c:v>
                </c:pt>
                <c:pt idx="7">
                  <c:v>Теучежский район</c:v>
                </c:pt>
                <c:pt idx="8">
                  <c:v>Красногвардейский район</c:v>
                </c:pt>
              </c:strCache>
            </c:strRef>
          </c:cat>
          <c:val>
            <c:numRef>
              <c:f>Обеспеченность!$B$56:$B$64</c:f>
              <c:numCache>
                <c:formatCode>General</c:formatCode>
                <c:ptCount val="9"/>
                <c:pt idx="0">
                  <c:v>27.638645641627118</c:v>
                </c:pt>
                <c:pt idx="1">
                  <c:v>31.923978460563823</c:v>
                </c:pt>
                <c:pt idx="2">
                  <c:v>27.147855725964003</c:v>
                </c:pt>
                <c:pt idx="3">
                  <c:v>26.621079933977835</c:v>
                </c:pt>
                <c:pt idx="4">
                  <c:v>19.141217597783786</c:v>
                </c:pt>
                <c:pt idx="5">
                  <c:v>24.699045998443189</c:v>
                </c:pt>
                <c:pt idx="6">
                  <c:v>26.070299987013549</c:v>
                </c:pt>
                <c:pt idx="7">
                  <c:v>21.30741376024395</c:v>
                </c:pt>
                <c:pt idx="8">
                  <c:v>22.59524948190658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261308800"/>
        <c:axId val="264637056"/>
      </c:barChart>
      <c:catAx>
        <c:axId val="2613088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900"/>
            </a:pPr>
            <a:endParaRPr lang="ru-RU"/>
          </a:p>
        </c:txPr>
        <c:crossAx val="264637056"/>
        <c:crosses val="autoZero"/>
        <c:auto val="1"/>
        <c:lblAlgn val="ctr"/>
        <c:lblOffset val="100"/>
        <c:noMultiLvlLbl val="0"/>
      </c:catAx>
      <c:valAx>
        <c:axId val="2646370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130880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000"/>
            </a:pPr>
            <a:r>
              <a:rPr lang="ru-RU" sz="1000" b="1" i="0" baseline="0" dirty="0" smtClean="0">
                <a:effectLst/>
              </a:rPr>
              <a:t>Доступность жилья, стоимость жилья, доходы населения</a:t>
            </a:r>
            <a:endParaRPr lang="ru-RU" sz="1000" dirty="0">
              <a:effectLst/>
            </a:endParaRPr>
          </a:p>
        </c:rich>
      </c:tx>
      <c:layout>
        <c:manualLayout>
          <c:xMode val="edge"/>
          <c:yMode val="edge"/>
          <c:x val="5.6505542754655934E-2"/>
          <c:y val="2.2206575944158331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1292088625476371"/>
          <c:y val="0.1609422130836044"/>
          <c:w val="0.55186854766643434"/>
          <c:h val="0.37030088629301766"/>
        </c:manualLayout>
      </c:layout>
      <c:lineChart>
        <c:grouping val="standard"/>
        <c:varyColors val="0"/>
        <c:ser>
          <c:idx val="0"/>
          <c:order val="0"/>
          <c:tx>
            <c:strRef>
              <c:f>цены_доступ_доходыст!$B$1</c:f>
              <c:strCache>
                <c:ptCount val="1"/>
                <c:pt idx="0">
                  <c:v>Оценка объема медианных доходов населения в 2017 г., рублей*</c:v>
                </c:pt>
              </c:strCache>
            </c:strRef>
          </c:tx>
          <c:cat>
            <c:strRef>
              <c:f>цены_доступ_доходыст!$A$3:$A$10</c:f>
              <c:strCache>
                <c:ptCount val="8"/>
                <c:pt idx="0">
                  <c:v>ГО Краснодар</c:v>
                </c:pt>
                <c:pt idx="1">
                  <c:v>Тахтамукайский район</c:v>
                </c:pt>
                <c:pt idx="2">
                  <c:v>ГО Горячий Ключ</c:v>
                </c:pt>
                <c:pt idx="3">
                  <c:v>ГО Адыгейск</c:v>
                </c:pt>
                <c:pt idx="4">
                  <c:v>Усть-Лабинский район</c:v>
                </c:pt>
                <c:pt idx="5">
                  <c:v>Динской район</c:v>
                </c:pt>
                <c:pt idx="6">
                  <c:v>Теучежский район</c:v>
                </c:pt>
                <c:pt idx="7">
                  <c:v>Красногвардейский район</c:v>
                </c:pt>
              </c:strCache>
            </c:strRef>
          </c:cat>
          <c:val>
            <c:numRef>
              <c:f>цены_доступ_доходыст!$C$3:$C$10</c:f>
              <c:numCache>
                <c:formatCode>0</c:formatCode>
                <c:ptCount val="8"/>
                <c:pt idx="0">
                  <c:v>45731.963436131773</c:v>
                </c:pt>
                <c:pt idx="1">
                  <c:v>21816.12376957704</c:v>
                </c:pt>
                <c:pt idx="2">
                  <c:v>18432.179739675586</c:v>
                </c:pt>
                <c:pt idx="3">
                  <c:v>16363.251853670317</c:v>
                </c:pt>
                <c:pt idx="4">
                  <c:v>19941.89686134809</c:v>
                </c:pt>
                <c:pt idx="5">
                  <c:v>19899.716690313933</c:v>
                </c:pt>
                <c:pt idx="6">
                  <c:v>14441.817742634508</c:v>
                </c:pt>
                <c:pt idx="7">
                  <c:v>16570.949400236615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цены_доступ_доходыст!$D$1</c:f>
              <c:strCache>
                <c:ptCount val="1"/>
                <c:pt idx="0">
                  <c:v>Оценка медианных цен на рынке жилья в 2019 г., рублей</c:v>
                </c:pt>
              </c:strCache>
            </c:strRef>
          </c:tx>
          <c:cat>
            <c:strRef>
              <c:f>цены_доступ_доходыст!$A$3:$A$10</c:f>
              <c:strCache>
                <c:ptCount val="8"/>
                <c:pt idx="0">
                  <c:v>ГО Краснодар</c:v>
                </c:pt>
                <c:pt idx="1">
                  <c:v>Тахтамукайский район</c:v>
                </c:pt>
                <c:pt idx="2">
                  <c:v>ГО Горячий Ключ</c:v>
                </c:pt>
                <c:pt idx="3">
                  <c:v>ГО Адыгейск</c:v>
                </c:pt>
                <c:pt idx="4">
                  <c:v>Усть-Лабинский район</c:v>
                </c:pt>
                <c:pt idx="5">
                  <c:v>Динской район</c:v>
                </c:pt>
                <c:pt idx="6">
                  <c:v>Теучежский район</c:v>
                </c:pt>
                <c:pt idx="7">
                  <c:v>Красногвардейский район</c:v>
                </c:pt>
              </c:strCache>
            </c:strRef>
          </c:cat>
          <c:val>
            <c:numRef>
              <c:f>цены_доступ_доходыст!$E$3:$E$10</c:f>
              <c:numCache>
                <c:formatCode>General</c:formatCode>
                <c:ptCount val="8"/>
                <c:pt idx="0" formatCode="0">
                  <c:v>52655.475040257646</c:v>
                </c:pt>
                <c:pt idx="1">
                  <c:v>22745</c:v>
                </c:pt>
                <c:pt idx="2" formatCode="0">
                  <c:v>48141.714285714283</c:v>
                </c:pt>
                <c:pt idx="3" formatCode="0">
                  <c:v>23810</c:v>
                </c:pt>
                <c:pt idx="4">
                  <c:v>37684</c:v>
                </c:pt>
                <c:pt idx="5" formatCode="0">
                  <c:v>46756</c:v>
                </c:pt>
                <c:pt idx="6">
                  <c:v>32358</c:v>
                </c:pt>
                <c:pt idx="7">
                  <c:v>3000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71298560"/>
        <c:axId val="271300096"/>
      </c:lineChart>
      <c:lineChart>
        <c:grouping val="standard"/>
        <c:varyColors val="0"/>
        <c:ser>
          <c:idx val="2"/>
          <c:order val="2"/>
          <c:tx>
            <c:strRef>
              <c:f>цены_доступ_доходыст!$G$1</c:f>
              <c:strCache>
                <c:ptCount val="1"/>
                <c:pt idx="0">
                  <c:v>Коэффициент доступности жилья в 2017 г., лет</c:v>
                </c:pt>
              </c:strCache>
            </c:strRef>
          </c:tx>
          <c:cat>
            <c:strRef>
              <c:f>цены_доступ_доходыст!$A$3:$A$10</c:f>
              <c:strCache>
                <c:ptCount val="8"/>
                <c:pt idx="0">
                  <c:v>ГО Краснодар</c:v>
                </c:pt>
                <c:pt idx="1">
                  <c:v>Тахтамукайский район</c:v>
                </c:pt>
                <c:pt idx="2">
                  <c:v>ГО Горячий Ключ</c:v>
                </c:pt>
                <c:pt idx="3">
                  <c:v>ГО Адыгейск</c:v>
                </c:pt>
                <c:pt idx="4">
                  <c:v>Усть-Лабинский район</c:v>
                </c:pt>
                <c:pt idx="5">
                  <c:v>Динской район</c:v>
                </c:pt>
                <c:pt idx="6">
                  <c:v>Теучежский район</c:v>
                </c:pt>
                <c:pt idx="7">
                  <c:v>Красногвардейский район</c:v>
                </c:pt>
              </c:strCache>
            </c:strRef>
          </c:cat>
          <c:val>
            <c:numRef>
              <c:f>цены_доступ_доходыст!$H$3:$H$10</c:f>
              <c:numCache>
                <c:formatCode>0.00</c:formatCode>
                <c:ptCount val="8"/>
                <c:pt idx="0">
                  <c:v>1.5185100141486159</c:v>
                </c:pt>
                <c:pt idx="1">
                  <c:v>1.2732682520125032</c:v>
                </c:pt>
                <c:pt idx="2">
                  <c:v>3.6922141882690513</c:v>
                </c:pt>
                <c:pt idx="3">
                  <c:v>2.546356130142966</c:v>
                </c:pt>
                <c:pt idx="4">
                  <c:v>2.5072840536504488</c:v>
                </c:pt>
                <c:pt idx="5">
                  <c:v>3.3501314468017656</c:v>
                </c:pt>
                <c:pt idx="6">
                  <c:v>3.8468533910067881</c:v>
                </c:pt>
                <c:pt idx="7">
                  <c:v>2.514440522404329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71581952"/>
        <c:axId val="271301632"/>
      </c:lineChart>
      <c:catAx>
        <c:axId val="271298560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ru-RU"/>
          </a:p>
        </c:txPr>
        <c:crossAx val="271300096"/>
        <c:crosses val="autoZero"/>
        <c:auto val="1"/>
        <c:lblAlgn val="ctr"/>
        <c:lblOffset val="100"/>
        <c:noMultiLvlLbl val="0"/>
      </c:catAx>
      <c:valAx>
        <c:axId val="271300096"/>
        <c:scaling>
          <c:orientation val="minMax"/>
        </c:scaling>
        <c:delete val="0"/>
        <c:axPos val="l"/>
        <c:majorGridlines/>
        <c:numFmt formatCode="0" sourceLinked="1"/>
        <c:majorTickMark val="out"/>
        <c:minorTickMark val="none"/>
        <c:tickLblPos val="nextTo"/>
        <c:crossAx val="271298560"/>
        <c:crosses val="autoZero"/>
        <c:crossBetween val="between"/>
      </c:valAx>
      <c:valAx>
        <c:axId val="271301632"/>
        <c:scaling>
          <c:orientation val="minMax"/>
        </c:scaling>
        <c:delete val="0"/>
        <c:axPos val="r"/>
        <c:numFmt formatCode="0.00" sourceLinked="1"/>
        <c:majorTickMark val="out"/>
        <c:minorTickMark val="none"/>
        <c:tickLblPos val="nextTo"/>
        <c:crossAx val="271581952"/>
        <c:crosses val="max"/>
        <c:crossBetween val="between"/>
      </c:valAx>
      <c:catAx>
        <c:axId val="271581952"/>
        <c:scaling>
          <c:orientation val="minMax"/>
        </c:scaling>
        <c:delete val="1"/>
        <c:axPos val="b"/>
        <c:majorTickMark val="out"/>
        <c:minorTickMark val="none"/>
        <c:tickLblPos val="nextTo"/>
        <c:crossAx val="271301632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3.3209440157712662E-2"/>
          <c:y val="0.78037522006659454"/>
          <c:w val="0.87776619767239883"/>
          <c:h val="0.16924354260748334"/>
        </c:manualLayout>
      </c:layout>
      <c:overlay val="0"/>
      <c:txPr>
        <a:bodyPr/>
        <a:lstStyle/>
        <a:p>
          <a:pPr>
            <a:defRPr sz="90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900"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000"/>
            </a:pPr>
            <a:r>
              <a:rPr lang="ru-RU" sz="1000"/>
              <a:t>Капитализация жилой недвижимости в ценах 2019 г., млрд руб.</a:t>
            </a:r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0.10746776730992645"/>
          <c:y val="0.13195461030987007"/>
          <c:w val="0.85765234110985966"/>
          <c:h val="0.50292482069308886"/>
        </c:manualLayout>
      </c:layout>
      <c:barChart>
        <c:barDir val="col"/>
        <c:grouping val="clustered"/>
        <c:varyColors val="0"/>
        <c:ser>
          <c:idx val="0"/>
          <c:order val="0"/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373,</a:t>
                    </a:r>
                    <a:r>
                      <a:rPr lang="ru-RU" smtClean="0"/>
                      <a:t>6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57,3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81,5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6,9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102,8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168,9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14,</a:t>
                    </a:r>
                    <a:r>
                      <a:rPr lang="ru-RU" smtClean="0"/>
                      <a:t>5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mtClean="0"/>
                      <a:t>21,</a:t>
                    </a:r>
                    <a:r>
                      <a:rPr lang="ru-RU" smtClean="0"/>
                      <a:t>3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Капитализация недвижимости'!$A$24:$A$31</c:f>
              <c:strCache>
                <c:ptCount val="8"/>
                <c:pt idx="0">
                  <c:v>ГО Краснодар</c:v>
                </c:pt>
                <c:pt idx="1">
                  <c:v>Тахтамукайский район</c:v>
                </c:pt>
                <c:pt idx="2">
                  <c:v>ГО Горячий Ключ</c:v>
                </c:pt>
                <c:pt idx="3">
                  <c:v>ГО Адыгейск</c:v>
                </c:pt>
                <c:pt idx="4">
                  <c:v>Усть-Лабинский район</c:v>
                </c:pt>
                <c:pt idx="5">
                  <c:v>Динской район</c:v>
                </c:pt>
                <c:pt idx="6">
                  <c:v>Теучежский район</c:v>
                </c:pt>
                <c:pt idx="7">
                  <c:v>Красногвардейский район</c:v>
                </c:pt>
              </c:strCache>
            </c:strRef>
          </c:cat>
          <c:val>
            <c:numRef>
              <c:f>'Капитализация недвижимости'!$B$24:$B$31</c:f>
              <c:numCache>
                <c:formatCode>General</c:formatCode>
                <c:ptCount val="8"/>
                <c:pt idx="0">
                  <c:v>1373575987.4476638</c:v>
                </c:pt>
                <c:pt idx="1">
                  <c:v>57308302</c:v>
                </c:pt>
                <c:pt idx="2">
                  <c:v>81527993.142857164</c:v>
                </c:pt>
                <c:pt idx="3">
                  <c:v>6909662</c:v>
                </c:pt>
                <c:pt idx="4">
                  <c:v>102832099.2</c:v>
                </c:pt>
                <c:pt idx="5">
                  <c:v>168952806</c:v>
                </c:pt>
                <c:pt idx="6">
                  <c:v>14470497.6</c:v>
                </c:pt>
                <c:pt idx="7">
                  <c:v>2126100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271605760"/>
        <c:axId val="271608448"/>
      </c:barChart>
      <c:catAx>
        <c:axId val="271605760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900"/>
            </a:pPr>
            <a:endParaRPr lang="ru-RU"/>
          </a:p>
        </c:txPr>
        <c:crossAx val="271608448"/>
        <c:crosses val="autoZero"/>
        <c:auto val="1"/>
        <c:lblAlgn val="ctr"/>
        <c:lblOffset val="100"/>
        <c:noMultiLvlLbl val="0"/>
      </c:catAx>
      <c:valAx>
        <c:axId val="27160844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71605760"/>
        <c:crosses val="autoZero"/>
        <c:crossBetween val="between"/>
        <c:dispUnits>
          <c:builtInUnit val="millions"/>
        </c:dispUnits>
      </c:valAx>
    </c:plotArea>
    <c:plotVisOnly val="1"/>
    <c:dispBlanksAs val="gap"/>
    <c:showDLblsOverMax val="0"/>
  </c:chart>
  <c:txPr>
    <a:bodyPr/>
    <a:lstStyle/>
    <a:p>
      <a:pPr>
        <a:defRPr>
          <a:latin typeface="Arial" pitchFamily="34" charset="0"/>
          <a:cs typeface="Arial" pitchFamily="34" charset="0"/>
        </a:defRPr>
      </a:pPr>
      <a:endParaRPr lang="ru-RU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000"/>
            </a:pPr>
            <a:r>
              <a:rPr lang="ru-RU" sz="1000"/>
              <a:t>Капитализация жилой недвижимости в ценах 2019 г., тыс. руб. на душу населения</a:t>
            </a:r>
          </a:p>
        </c:rich>
      </c:tx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455,3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726,1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281,5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455,7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930,7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1218,9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689,4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mtClean="0"/>
                      <a:t>677,8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Капитализация недвижимости'!$A$24:$A$31</c:f>
              <c:strCache>
                <c:ptCount val="8"/>
                <c:pt idx="0">
                  <c:v>ГО Краснодар</c:v>
                </c:pt>
                <c:pt idx="1">
                  <c:v>Тахтамукайский район</c:v>
                </c:pt>
                <c:pt idx="2">
                  <c:v>ГО Горячий Ключ</c:v>
                </c:pt>
                <c:pt idx="3">
                  <c:v>ГО Адыгейск</c:v>
                </c:pt>
                <c:pt idx="4">
                  <c:v>Усть-Лабинский район</c:v>
                </c:pt>
                <c:pt idx="5">
                  <c:v>Динской район</c:v>
                </c:pt>
                <c:pt idx="6">
                  <c:v>Теучежский район</c:v>
                </c:pt>
                <c:pt idx="7">
                  <c:v>Красногвардейский район</c:v>
                </c:pt>
              </c:strCache>
            </c:strRef>
          </c:cat>
          <c:val>
            <c:numRef>
              <c:f>'Капитализация недвижимости'!$C$24:$C$31</c:f>
              <c:numCache>
                <c:formatCode>General</c:formatCode>
                <c:ptCount val="8"/>
                <c:pt idx="0">
                  <c:v>1455.3260157292214</c:v>
                </c:pt>
                <c:pt idx="1">
                  <c:v>726.11089008552426</c:v>
                </c:pt>
                <c:pt idx="2">
                  <c:v>1281.5844241587231</c:v>
                </c:pt>
                <c:pt idx="3">
                  <c:v>455.75239100323199</c:v>
                </c:pt>
                <c:pt idx="4">
                  <c:v>930.75884940533297</c:v>
                </c:pt>
                <c:pt idx="5">
                  <c:v>1218.9429461928055</c:v>
                </c:pt>
                <c:pt idx="6">
                  <c:v>689.46529445397368</c:v>
                </c:pt>
                <c:pt idx="7">
                  <c:v>677.8574844571975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271612544"/>
        <c:axId val="296391424"/>
      </c:barChart>
      <c:catAx>
        <c:axId val="271612544"/>
        <c:scaling>
          <c:orientation val="minMax"/>
        </c:scaling>
        <c:delete val="1"/>
        <c:axPos val="b"/>
        <c:majorTickMark val="none"/>
        <c:minorTickMark val="none"/>
        <c:tickLblPos val="nextTo"/>
        <c:crossAx val="296391424"/>
        <c:crosses val="autoZero"/>
        <c:auto val="1"/>
        <c:lblAlgn val="ctr"/>
        <c:lblOffset val="100"/>
        <c:noMultiLvlLbl val="0"/>
      </c:catAx>
      <c:valAx>
        <c:axId val="296391424"/>
        <c:scaling>
          <c:orientation val="minMax"/>
        </c:scaling>
        <c:delete val="1"/>
        <c:axPos val="l"/>
        <c:majorGridlines/>
        <c:numFmt formatCode="General" sourceLinked="1"/>
        <c:majorTickMark val="out"/>
        <c:minorTickMark val="none"/>
        <c:tickLblPos val="nextTo"/>
        <c:crossAx val="27161254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>
          <a:latin typeface="Arial" pitchFamily="34" charset="0"/>
          <a:cs typeface="Arial" pitchFamily="34" charset="0"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55812866373003"/>
          <c:y val="8.7820627227334747E-2"/>
          <c:w val="0.78563600672859457"/>
          <c:h val="0.42373540023966588"/>
        </c:manualLayout>
      </c:layout>
      <c:barChart>
        <c:barDir val="col"/>
        <c:grouping val="clustered"/>
        <c:varyColors val="0"/>
        <c:ser>
          <c:idx val="0"/>
          <c:order val="0"/>
          <c:tx>
            <c:v>Доля в ВВП</c:v>
          </c:tx>
          <c:spPr>
            <a:solidFill>
              <a:srgbClr val="008F00"/>
            </a:solidFill>
          </c:spPr>
          <c:invertIfNegative val="0"/>
          <c:cat>
            <c:strRef>
              <c:f>Лист10!$B$32:$B$41</c:f>
              <c:strCache>
                <c:ptCount val="10"/>
                <c:pt idx="0">
                  <c:v>Московская </c:v>
                </c:pt>
                <c:pt idx="1">
                  <c:v>Санкт-Петербургская </c:v>
                </c:pt>
                <c:pt idx="2">
                  <c:v>Екатеринбургская </c:v>
                </c:pt>
                <c:pt idx="3">
                  <c:v>Самарско-Тольяттинская </c:v>
                </c:pt>
                <c:pt idx="4">
                  <c:v>Нижегородская </c:v>
                </c:pt>
                <c:pt idx="5">
                  <c:v>Сургутская </c:v>
                </c:pt>
                <c:pt idx="6">
                  <c:v>Новосибирская </c:v>
                </c:pt>
                <c:pt idx="7">
                  <c:v>Ростовская </c:v>
                </c:pt>
                <c:pt idx="8">
                  <c:v>Казанская </c:v>
                </c:pt>
                <c:pt idx="9">
                  <c:v>Красноярская </c:v>
                </c:pt>
              </c:strCache>
            </c:strRef>
          </c:cat>
          <c:val>
            <c:numRef>
              <c:f>Лист10!$C$32:$C$41</c:f>
              <c:numCache>
                <c:formatCode>0.0%</c:formatCode>
                <c:ptCount val="10"/>
                <c:pt idx="0">
                  <c:v>0.19006976728177757</c:v>
                </c:pt>
                <c:pt idx="1">
                  <c:v>4.7163637543880255E-2</c:v>
                </c:pt>
                <c:pt idx="2">
                  <c:v>1.2763387525553187E-2</c:v>
                </c:pt>
                <c:pt idx="3">
                  <c:v>1.0955648201381033E-2</c:v>
                </c:pt>
                <c:pt idx="4">
                  <c:v>1.0502835044977845E-2</c:v>
                </c:pt>
                <c:pt idx="5">
                  <c:v>1.042496911371185E-2</c:v>
                </c:pt>
                <c:pt idx="6">
                  <c:v>9.5167418292234924E-3</c:v>
                </c:pt>
                <c:pt idx="7">
                  <c:v>7.8396330855282359E-3</c:v>
                </c:pt>
                <c:pt idx="8">
                  <c:v>7.679858013476838E-3</c:v>
                </c:pt>
                <c:pt idx="9">
                  <c:v>6.8765594303553312E-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14440960"/>
        <c:axId val="214450944"/>
      </c:barChart>
      <c:catAx>
        <c:axId val="214440960"/>
        <c:scaling>
          <c:orientation val="maxMin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050"/>
            </a:pPr>
            <a:endParaRPr lang="ru-RU"/>
          </a:p>
        </c:txPr>
        <c:crossAx val="214450944"/>
        <c:crosses val="autoZero"/>
        <c:auto val="1"/>
        <c:lblAlgn val="ctr"/>
        <c:lblOffset val="100"/>
        <c:noMultiLvlLbl val="0"/>
      </c:catAx>
      <c:valAx>
        <c:axId val="214450944"/>
        <c:scaling>
          <c:orientation val="minMax"/>
        </c:scaling>
        <c:delete val="1"/>
        <c:axPos val="r"/>
        <c:numFmt formatCode="0.0%" sourceLinked="1"/>
        <c:majorTickMark val="none"/>
        <c:minorTickMark val="none"/>
        <c:tickLblPos val="nextTo"/>
        <c:crossAx val="214440960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43756517171696263"/>
          <c:y val="0.12610822768492802"/>
          <c:w val="0.14528441390088465"/>
          <c:h val="9.4440638264798801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50"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pPr>
      <a:endParaRPr lang="ru-RU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100"/>
            </a:pPr>
            <a:r>
              <a:rPr lang="ru-RU" sz="1100"/>
              <a:t>Медианная цена кв.м жилья: руб./кв.м</a:t>
            </a:r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0.11100729995896118"/>
          <c:y val="0.21118927040208202"/>
          <c:w val="0.85951901420190713"/>
          <c:h val="0.65818375904438386"/>
        </c:manualLayout>
      </c:layout>
      <c:lineChart>
        <c:grouping val="standard"/>
        <c:varyColors val="0"/>
        <c:ser>
          <c:idx val="0"/>
          <c:order val="0"/>
          <c:tx>
            <c:strRef>
              <c:f>'1 направление'!$L$1</c:f>
              <c:strCache>
                <c:ptCount val="1"/>
                <c:pt idx="0">
                  <c:v>Медианная стоимость кв.м жилья: руб./кв.м</c:v>
                </c:pt>
              </c:strCache>
            </c:strRef>
          </c:tx>
          <c:marker>
            <c:symbol val="none"/>
          </c:marker>
          <c:dLbls>
            <c:dLbl>
              <c:idx val="1"/>
              <c:layout>
                <c:manualLayout>
                  <c:x val="-0.16168512140626351"/>
                  <c:y val="7.672283543435093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0.12541816341394166"/>
                  <c:y val="4.98698430323281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6.762149884580726E-2"/>
                  <c:y val="4.219755948889301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7.4467034527027867E-2"/>
                  <c:y val="-2.685299240202282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3.8722857954054488E-2"/>
                  <c:y val="-4.219755948889301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3.9193176066856768E-3"/>
                  <c:y val="3.068913417374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val>
            <c:numRef>
              <c:f>'1 направление'!$L$2:$L$8</c:f>
              <c:numCache>
                <c:formatCode>0</c:formatCode>
                <c:ptCount val="7"/>
                <c:pt idx="0">
                  <c:v>93976</c:v>
                </c:pt>
                <c:pt idx="1">
                  <c:v>52273</c:v>
                </c:pt>
                <c:pt idx="2">
                  <c:v>46512</c:v>
                </c:pt>
                <c:pt idx="3">
                  <c:v>45000</c:v>
                </c:pt>
                <c:pt idx="4">
                  <c:v>47143</c:v>
                </c:pt>
                <c:pt idx="5">
                  <c:v>38158</c:v>
                </c:pt>
                <c:pt idx="6">
                  <c:v>36667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330211712"/>
        <c:axId val="330214400"/>
      </c:lineChart>
      <c:catAx>
        <c:axId val="330211712"/>
        <c:scaling>
          <c:orientation val="minMax"/>
        </c:scaling>
        <c:delete val="0"/>
        <c:axPos val="b"/>
        <c:majorTickMark val="none"/>
        <c:minorTickMark val="none"/>
        <c:tickLblPos val="nextTo"/>
        <c:crossAx val="330214400"/>
        <c:crosses val="autoZero"/>
        <c:auto val="1"/>
        <c:lblAlgn val="ctr"/>
        <c:lblOffset val="100"/>
        <c:noMultiLvlLbl val="0"/>
      </c:catAx>
      <c:valAx>
        <c:axId val="330214400"/>
        <c:scaling>
          <c:orientation val="minMax"/>
        </c:scaling>
        <c:delete val="0"/>
        <c:axPos val="l"/>
        <c:majorGridlines/>
        <c:numFmt formatCode="0" sourceLinked="1"/>
        <c:majorTickMark val="none"/>
        <c:minorTickMark val="none"/>
        <c:tickLblPos val="nextTo"/>
        <c:crossAx val="33021171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900">
          <a:latin typeface="Arial" pitchFamily="34" charset="0"/>
          <a:cs typeface="Arial" pitchFamily="34" charset="0"/>
        </a:defRPr>
      </a:pPr>
      <a:endParaRPr lang="ru-RU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/>
            </a:pPr>
            <a:r>
              <a:rPr lang="ru-RU" sz="1200"/>
              <a:t>Плотность улично-дорожной сети, м/га</a:t>
            </a:r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УДС!$J$1:$J$2</c:f>
              <c:strCache>
                <c:ptCount val="1"/>
                <c:pt idx="0">
                  <c:v>Краснодарская агломерация</c:v>
                </c:pt>
              </c:strCache>
            </c:strRef>
          </c:tx>
          <c:marker>
            <c:symbol val="none"/>
          </c:marker>
          <c:cat>
            <c:numRef>
              <c:f>УДС!$I$3:$I$9</c:f>
              <c:numCache>
                <c:formatCode>General</c:formatCod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numCache>
            </c:numRef>
          </c:cat>
          <c:val>
            <c:numRef>
              <c:f>УДС!$J$3:$J$9</c:f>
              <c:numCache>
                <c:formatCode>0.00</c:formatCode>
                <c:ptCount val="7"/>
                <c:pt idx="0">
                  <c:v>150.59815231672934</c:v>
                </c:pt>
                <c:pt idx="1">
                  <c:v>184.95586405504977</c:v>
                </c:pt>
                <c:pt idx="2">
                  <c:v>192.38242670317433</c:v>
                </c:pt>
                <c:pt idx="3">
                  <c:v>156.49702985923466</c:v>
                </c:pt>
                <c:pt idx="4">
                  <c:v>115.65931472799925</c:v>
                </c:pt>
                <c:pt idx="5">
                  <c:v>66.644206678361357</c:v>
                </c:pt>
                <c:pt idx="6">
                  <c:v>122.16148640995415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УДС!$K$1:$K$2</c:f>
              <c:strCache>
                <c:ptCount val="1"/>
                <c:pt idx="0">
                  <c:v>Краснодарская агломерация</c:v>
                </c:pt>
              </c:strCache>
            </c:strRef>
          </c:tx>
          <c:spPr>
            <a:ln>
              <a:solidFill>
                <a:schemeClr val="tx2">
                  <a:lumMod val="50000"/>
                </a:schemeClr>
              </a:solidFill>
            </a:ln>
          </c:spPr>
          <c:marker>
            <c:symbol val="none"/>
          </c:marker>
          <c:cat>
            <c:numRef>
              <c:f>УДС!$I$3:$I$9</c:f>
              <c:numCache>
                <c:formatCode>General</c:formatCod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numCache>
            </c:numRef>
          </c:cat>
          <c:val>
            <c:numRef>
              <c:f>УДС!$K$3:$K$9</c:f>
              <c:numCache>
                <c:formatCode>General</c:formatCode>
                <c:ptCount val="7"/>
              </c:numCache>
            </c:numRef>
          </c:val>
          <c:smooth val="0"/>
        </c:ser>
        <c:ser>
          <c:idx val="2"/>
          <c:order val="2"/>
          <c:tx>
            <c:strRef>
              <c:f>УДС!$L$1:$L$2</c:f>
              <c:strCache>
                <c:ptCount val="1"/>
                <c:pt idx="0">
                  <c:v>Пермская агломерация</c:v>
                </c:pt>
              </c:strCache>
            </c:strRef>
          </c:tx>
          <c:spPr>
            <a:ln>
              <a:solidFill>
                <a:schemeClr val="accent2"/>
              </a:solidFill>
            </a:ln>
          </c:spPr>
          <c:marker>
            <c:symbol val="none"/>
          </c:marker>
          <c:cat>
            <c:numRef>
              <c:f>УДС!$I$3:$I$9</c:f>
              <c:numCache>
                <c:formatCode>General</c:formatCod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numCache>
            </c:numRef>
          </c:cat>
          <c:val>
            <c:numRef>
              <c:f>УДС!$L$3:$L$9</c:f>
              <c:numCache>
                <c:formatCode>0.00</c:formatCode>
                <c:ptCount val="7"/>
                <c:pt idx="0">
                  <c:v>208.10151800193086</c:v>
                </c:pt>
                <c:pt idx="1">
                  <c:v>196.08640939057841</c:v>
                </c:pt>
                <c:pt idx="2">
                  <c:v>126.56123384387509</c:v>
                </c:pt>
                <c:pt idx="3">
                  <c:v>69.239176545115214</c:v>
                </c:pt>
                <c:pt idx="4">
                  <c:v>104.11396100105087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УДС!$M$1:$M$2</c:f>
              <c:strCache>
                <c:ptCount val="1"/>
                <c:pt idx="0">
                  <c:v>Нижегородская агломерация</c:v>
                </c:pt>
              </c:strCache>
            </c:strRef>
          </c:tx>
          <c:spPr>
            <a:ln>
              <a:solidFill>
                <a:srgbClr val="00B050"/>
              </a:solidFill>
            </a:ln>
          </c:spPr>
          <c:marker>
            <c:symbol val="none"/>
          </c:marker>
          <c:cat>
            <c:numRef>
              <c:f>УДС!$I$3:$I$9</c:f>
              <c:numCache>
                <c:formatCode>General</c:formatCod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numCache>
            </c:numRef>
          </c:cat>
          <c:val>
            <c:numRef>
              <c:f>УДС!$M$3:$M$9</c:f>
              <c:numCache>
                <c:formatCode>0.00</c:formatCode>
                <c:ptCount val="7"/>
                <c:pt idx="0">
                  <c:v>266.4093393720936</c:v>
                </c:pt>
                <c:pt idx="1">
                  <c:v>241.81616389549558</c:v>
                </c:pt>
                <c:pt idx="2">
                  <c:v>227.99628694381391</c:v>
                </c:pt>
                <c:pt idx="3">
                  <c:v>187.30967542314167</c:v>
                </c:pt>
                <c:pt idx="4">
                  <c:v>181.45174693421359</c:v>
                </c:pt>
                <c:pt idx="5">
                  <c:v>143.25861570414028</c:v>
                </c:pt>
                <c:pt idx="6">
                  <c:v>123.58429049685074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УДС!$N$1:$N$2</c:f>
              <c:strCache>
                <c:ptCount val="1"/>
                <c:pt idx="0">
                  <c:v>Нижегородская агломерация</c:v>
                </c:pt>
              </c:strCache>
            </c:strRef>
          </c:tx>
          <c:spPr>
            <a:ln>
              <a:solidFill>
                <a:schemeClr val="accent3"/>
              </a:solidFill>
            </a:ln>
          </c:spPr>
          <c:marker>
            <c:symbol val="none"/>
          </c:marker>
          <c:cat>
            <c:numRef>
              <c:f>УДС!$I$3:$I$9</c:f>
              <c:numCache>
                <c:formatCode>General</c:formatCod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numCache>
            </c:numRef>
          </c:cat>
          <c:val>
            <c:numRef>
              <c:f>УДС!$N$3:$N$9</c:f>
              <c:numCache>
                <c:formatCode>General</c:formatCode>
                <c:ptCount val="7"/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30469376"/>
        <c:axId val="330470912"/>
      </c:lineChart>
      <c:catAx>
        <c:axId val="3304693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330470912"/>
        <c:crosses val="autoZero"/>
        <c:auto val="1"/>
        <c:lblAlgn val="ctr"/>
        <c:lblOffset val="100"/>
        <c:noMultiLvlLbl val="0"/>
      </c:catAx>
      <c:valAx>
        <c:axId val="330470912"/>
        <c:scaling>
          <c:orientation val="minMax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b="0"/>
                </a:pPr>
                <a:r>
                  <a:rPr lang="ru-RU" b="0"/>
                  <a:t>Плотность улично-дорожной сети</a:t>
                </a:r>
              </a:p>
            </c:rich>
          </c:tx>
          <c:layout/>
          <c:overlay val="0"/>
        </c:title>
        <c:numFmt formatCode="0.00" sourceLinked="1"/>
        <c:majorTickMark val="none"/>
        <c:minorTickMark val="none"/>
        <c:tickLblPos val="nextTo"/>
        <c:crossAx val="33046937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900">
          <a:latin typeface="Arial" pitchFamily="34" charset="0"/>
          <a:cs typeface="Arial" pitchFamily="34" charset="0"/>
        </a:defRPr>
      </a:pPr>
      <a:endParaRPr lang="ru-RU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/>
            </a:pPr>
            <a:r>
              <a:rPr lang="ru-RU" sz="1200"/>
              <a:t>% застроенности жилой территории</a:t>
            </a:r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% застроенности'!$B$1:$B$2</c:f>
              <c:strCache>
                <c:ptCount val="1"/>
                <c:pt idx="0">
                  <c:v>Краснодарская агломерация</c:v>
                </c:pt>
              </c:strCache>
            </c:strRef>
          </c:tx>
          <c:marker>
            <c:symbol val="none"/>
          </c:marker>
          <c:cat>
            <c:numRef>
              <c:f>'% застроенности'!$A$3:$A$9</c:f>
              <c:numCache>
                <c:formatCode>General</c:formatCod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numCache>
            </c:numRef>
          </c:cat>
          <c:val>
            <c:numRef>
              <c:f>'% застроенности'!$B$3:$B$9</c:f>
              <c:numCache>
                <c:formatCode>0.0</c:formatCode>
                <c:ptCount val="7"/>
                <c:pt idx="0">
                  <c:v>20.452421787900953</c:v>
                </c:pt>
                <c:pt idx="1">
                  <c:v>18.431401166206349</c:v>
                </c:pt>
                <c:pt idx="2">
                  <c:v>15.382316694905974</c:v>
                </c:pt>
                <c:pt idx="3">
                  <c:v>12.299416856467234</c:v>
                </c:pt>
                <c:pt idx="4">
                  <c:v>4.5875827598761241</c:v>
                </c:pt>
                <c:pt idx="5">
                  <c:v>3.2787710513985213</c:v>
                </c:pt>
                <c:pt idx="6">
                  <c:v>6.1433132108082713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% застроенности'!$C$1:$C$2</c:f>
              <c:strCache>
                <c:ptCount val="1"/>
                <c:pt idx="0">
                  <c:v>Краснодарская агломерация</c:v>
                </c:pt>
              </c:strCache>
            </c:strRef>
          </c:tx>
          <c:spPr>
            <a:ln>
              <a:solidFill>
                <a:schemeClr val="tx2"/>
              </a:solidFill>
            </a:ln>
          </c:spPr>
          <c:marker>
            <c:symbol val="none"/>
          </c:marker>
          <c:cat>
            <c:numRef>
              <c:f>'% застроенности'!$A$3:$A$9</c:f>
              <c:numCache>
                <c:formatCode>General</c:formatCod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numCache>
            </c:numRef>
          </c:cat>
          <c:val>
            <c:numRef>
              <c:f>'% застроенности'!$C$3:$C$9</c:f>
              <c:numCache>
                <c:formatCode>General</c:formatCode>
                <c:ptCount val="7"/>
              </c:numCache>
            </c:numRef>
          </c:val>
          <c:smooth val="0"/>
        </c:ser>
        <c:ser>
          <c:idx val="2"/>
          <c:order val="2"/>
          <c:tx>
            <c:strRef>
              <c:f>'% застроенности'!$D$1:$D$2</c:f>
              <c:strCache>
                <c:ptCount val="1"/>
                <c:pt idx="0">
                  <c:v>Пермская агломерация</c:v>
                </c:pt>
              </c:strCache>
            </c:strRef>
          </c:tx>
          <c:spPr>
            <a:ln>
              <a:solidFill>
                <a:schemeClr val="accent2"/>
              </a:solidFill>
            </a:ln>
          </c:spPr>
          <c:marker>
            <c:symbol val="none"/>
          </c:marker>
          <c:cat>
            <c:numRef>
              <c:f>'% застроенности'!$A$3:$A$9</c:f>
              <c:numCache>
                <c:formatCode>General</c:formatCod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numCache>
            </c:numRef>
          </c:cat>
          <c:val>
            <c:numRef>
              <c:f>'% застроенности'!$D$3:$D$9</c:f>
              <c:numCache>
                <c:formatCode>0.00</c:formatCode>
                <c:ptCount val="7"/>
                <c:pt idx="0">
                  <c:v>26.433863882600928</c:v>
                </c:pt>
                <c:pt idx="1">
                  <c:v>16.221280398853583</c:v>
                </c:pt>
                <c:pt idx="2">
                  <c:v>9.2511962212615924</c:v>
                </c:pt>
                <c:pt idx="3">
                  <c:v>5.2244416112893521</c:v>
                </c:pt>
                <c:pt idx="4">
                  <c:v>1.2663260143118471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'% застроенности'!$E$1:$E$2</c:f>
              <c:strCache>
                <c:ptCount val="1"/>
                <c:pt idx="0">
                  <c:v>Нижегородская агломерация</c:v>
                </c:pt>
              </c:strCache>
            </c:strRef>
          </c:tx>
          <c:spPr>
            <a:ln>
              <a:solidFill>
                <a:srgbClr val="00B050"/>
              </a:solidFill>
            </a:ln>
          </c:spPr>
          <c:marker>
            <c:symbol val="none"/>
          </c:marker>
          <c:cat>
            <c:numRef>
              <c:f>'% застроенности'!$A$3:$A$9</c:f>
              <c:numCache>
                <c:formatCode>General</c:formatCod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numCache>
            </c:numRef>
          </c:cat>
          <c:val>
            <c:numRef>
              <c:f>'% застроенности'!$E$3:$E$9</c:f>
              <c:numCache>
                <c:formatCode>0.00</c:formatCode>
                <c:ptCount val="7"/>
                <c:pt idx="0">
                  <c:v>26.867120946574218</c:v>
                </c:pt>
                <c:pt idx="1">
                  <c:v>19.652024187673241</c:v>
                </c:pt>
                <c:pt idx="2">
                  <c:v>17.769258451823667</c:v>
                </c:pt>
                <c:pt idx="3">
                  <c:v>14.107252661898443</c:v>
                </c:pt>
                <c:pt idx="4">
                  <c:v>14.855110675429579</c:v>
                </c:pt>
                <c:pt idx="5">
                  <c:v>11.302041276670797</c:v>
                </c:pt>
                <c:pt idx="6">
                  <c:v>9.4341169141995351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'% застроенности'!$F$1:$F$2</c:f>
              <c:strCache>
                <c:ptCount val="1"/>
                <c:pt idx="0">
                  <c:v>Нижегородская агломерация</c:v>
                </c:pt>
              </c:strCache>
            </c:strRef>
          </c:tx>
          <c:spPr>
            <a:ln>
              <a:solidFill>
                <a:schemeClr val="accent3"/>
              </a:solidFill>
            </a:ln>
          </c:spPr>
          <c:marker>
            <c:symbol val="none"/>
          </c:marker>
          <c:cat>
            <c:numRef>
              <c:f>'% застроенности'!$A$3:$A$9</c:f>
              <c:numCache>
                <c:formatCode>General</c:formatCod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numCache>
            </c:numRef>
          </c:cat>
          <c:val>
            <c:numRef>
              <c:f>'% застроенности'!$F$3:$F$9</c:f>
              <c:numCache>
                <c:formatCode>General</c:formatCode>
                <c:ptCount val="7"/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30842880"/>
        <c:axId val="330844416"/>
      </c:lineChart>
      <c:catAx>
        <c:axId val="3308428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330844416"/>
        <c:crosses val="autoZero"/>
        <c:auto val="1"/>
        <c:lblAlgn val="ctr"/>
        <c:lblOffset val="100"/>
        <c:noMultiLvlLbl val="0"/>
      </c:catAx>
      <c:valAx>
        <c:axId val="330844416"/>
        <c:scaling>
          <c:orientation val="minMax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b="0"/>
                </a:pPr>
                <a:r>
                  <a:rPr lang="ru-RU" b="0"/>
                  <a:t>% застроенности жилой территории</a:t>
                </a:r>
              </a:p>
            </c:rich>
          </c:tx>
          <c:layout/>
          <c:overlay val="0"/>
        </c:title>
        <c:numFmt formatCode="0.0" sourceLinked="1"/>
        <c:majorTickMark val="none"/>
        <c:minorTickMark val="none"/>
        <c:tickLblPos val="nextTo"/>
        <c:crossAx val="33084288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900">
          <a:latin typeface="Arial" pitchFamily="34" charset="0"/>
          <a:cs typeface="Arial" pitchFamily="34" charset="0"/>
        </a:defRPr>
      </a:pPr>
      <a:endParaRPr lang="ru-RU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/>
            </a:pPr>
            <a:r>
              <a:rPr lang="ru-RU" sz="1200"/>
              <a:t>Плотность жилой застройки, кв.м/га</a:t>
            </a:r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Плотность жилой застройки'!$B$1:$B$2</c:f>
              <c:strCache>
                <c:ptCount val="1"/>
                <c:pt idx="0">
                  <c:v>Краснодарская агломерация</c:v>
                </c:pt>
              </c:strCache>
            </c:strRef>
          </c:tx>
          <c:marker>
            <c:symbol val="none"/>
          </c:marker>
          <c:cat>
            <c:numRef>
              <c:f>'Плотность жилой застройки'!$A$3:$A$9</c:f>
              <c:numCache>
                <c:formatCode>General</c:formatCod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numCache>
            </c:numRef>
          </c:cat>
          <c:val>
            <c:numRef>
              <c:f>'Плотность жилой застройки'!$B$3:$B$9</c:f>
              <c:numCache>
                <c:formatCode>0</c:formatCode>
                <c:ptCount val="7"/>
                <c:pt idx="0">
                  <c:v>7014.5552397817664</c:v>
                </c:pt>
                <c:pt idx="1">
                  <c:v>2882.7760089556864</c:v>
                </c:pt>
                <c:pt idx="2">
                  <c:v>4073.2876239212605</c:v>
                </c:pt>
                <c:pt idx="3">
                  <c:v>2900.8363470125801</c:v>
                </c:pt>
                <c:pt idx="4">
                  <c:v>154.96154727819456</c:v>
                </c:pt>
                <c:pt idx="5">
                  <c:v>46.197872496969843</c:v>
                </c:pt>
                <c:pt idx="6">
                  <c:v>621.7147076220881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Плотность жилой застройки'!$C$1:$C$2</c:f>
              <c:strCache>
                <c:ptCount val="1"/>
                <c:pt idx="0">
                  <c:v>Краснодарская агломерация</c:v>
                </c:pt>
              </c:strCache>
            </c:strRef>
          </c:tx>
          <c:spPr>
            <a:ln>
              <a:solidFill>
                <a:schemeClr val="tx2">
                  <a:lumMod val="75000"/>
                </a:schemeClr>
              </a:solidFill>
            </a:ln>
          </c:spPr>
          <c:marker>
            <c:symbol val="none"/>
          </c:marker>
          <c:cat>
            <c:numRef>
              <c:f>'Плотность жилой застройки'!$A$3:$A$9</c:f>
              <c:numCache>
                <c:formatCode>General</c:formatCod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numCache>
            </c:numRef>
          </c:cat>
          <c:val>
            <c:numRef>
              <c:f>'Плотность жилой застройки'!$C$3:$C$9</c:f>
              <c:numCache>
                <c:formatCode>General</c:formatCode>
                <c:ptCount val="7"/>
              </c:numCache>
            </c:numRef>
          </c:val>
          <c:smooth val="0"/>
        </c:ser>
        <c:ser>
          <c:idx val="2"/>
          <c:order val="2"/>
          <c:tx>
            <c:strRef>
              <c:f>'Плотность жилой застройки'!$D$1:$D$2</c:f>
              <c:strCache>
                <c:ptCount val="1"/>
                <c:pt idx="0">
                  <c:v>Пермская агломерация</c:v>
                </c:pt>
              </c:strCache>
            </c:strRef>
          </c:tx>
          <c:spPr>
            <a:ln>
              <a:solidFill>
                <a:schemeClr val="accent2"/>
              </a:solidFill>
            </a:ln>
          </c:spPr>
          <c:marker>
            <c:symbol val="none"/>
          </c:marker>
          <c:cat>
            <c:numRef>
              <c:f>'Плотность жилой застройки'!$A$3:$A$9</c:f>
              <c:numCache>
                <c:formatCode>General</c:formatCod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numCache>
            </c:numRef>
          </c:cat>
          <c:val>
            <c:numRef>
              <c:f>'Плотность жилой застройки'!$D$3:$D$9</c:f>
              <c:numCache>
                <c:formatCode>0</c:formatCode>
                <c:ptCount val="7"/>
                <c:pt idx="0">
                  <c:v>3446.9525479819381</c:v>
                </c:pt>
                <c:pt idx="1">
                  <c:v>3863.6111462843128</c:v>
                </c:pt>
                <c:pt idx="2">
                  <c:v>2214.342972992883</c:v>
                </c:pt>
                <c:pt idx="3">
                  <c:v>618.92181136418696</c:v>
                </c:pt>
                <c:pt idx="4">
                  <c:v>47.789559135061801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'Плотность жилой застройки'!$E$1:$E$2</c:f>
              <c:strCache>
                <c:ptCount val="1"/>
                <c:pt idx="0">
                  <c:v>Нижегородская агломерация</c:v>
                </c:pt>
              </c:strCache>
            </c:strRef>
          </c:tx>
          <c:spPr>
            <a:ln>
              <a:solidFill>
                <a:srgbClr val="00B050"/>
              </a:solidFill>
            </a:ln>
          </c:spPr>
          <c:marker>
            <c:symbol val="none"/>
          </c:marker>
          <c:cat>
            <c:numRef>
              <c:f>'Плотность жилой застройки'!$A$3:$A$9</c:f>
              <c:numCache>
                <c:formatCode>General</c:formatCod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numCache>
            </c:numRef>
          </c:cat>
          <c:val>
            <c:numRef>
              <c:f>'Плотность жилой застройки'!$E$3:$E$9</c:f>
              <c:numCache>
                <c:formatCode>0</c:formatCode>
                <c:ptCount val="7"/>
                <c:pt idx="0">
                  <c:v>3523.5943383472745</c:v>
                </c:pt>
                <c:pt idx="1">
                  <c:v>4100.0511925092742</c:v>
                </c:pt>
                <c:pt idx="2">
                  <c:v>3898.1543161963286</c:v>
                </c:pt>
                <c:pt idx="3">
                  <c:v>2876.0720691624942</c:v>
                </c:pt>
                <c:pt idx="4">
                  <c:v>2752.7580526009397</c:v>
                </c:pt>
                <c:pt idx="5">
                  <c:v>2485.4010263375444</c:v>
                </c:pt>
                <c:pt idx="6">
                  <c:v>320.74236788836311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'Плотность жилой застройки'!$F$1:$F$2</c:f>
              <c:strCache>
                <c:ptCount val="1"/>
                <c:pt idx="0">
                  <c:v>Нижегородская агломерация</c:v>
                </c:pt>
              </c:strCache>
            </c:strRef>
          </c:tx>
          <c:spPr>
            <a:ln>
              <a:solidFill>
                <a:srgbClr val="00B050"/>
              </a:solidFill>
            </a:ln>
          </c:spPr>
          <c:marker>
            <c:symbol val="none"/>
          </c:marker>
          <c:cat>
            <c:numRef>
              <c:f>'Плотность жилой застройки'!$A$3:$A$9</c:f>
              <c:numCache>
                <c:formatCode>General</c:formatCod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numCache>
            </c:numRef>
          </c:cat>
          <c:val>
            <c:numRef>
              <c:f>'Плотность жилой застройки'!$F$3:$F$9</c:f>
              <c:numCache>
                <c:formatCode>General</c:formatCode>
                <c:ptCount val="7"/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30966528"/>
        <c:axId val="330968064"/>
      </c:lineChart>
      <c:catAx>
        <c:axId val="3309665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330968064"/>
        <c:crosses val="autoZero"/>
        <c:auto val="1"/>
        <c:lblAlgn val="ctr"/>
        <c:lblOffset val="100"/>
        <c:noMultiLvlLbl val="0"/>
      </c:catAx>
      <c:valAx>
        <c:axId val="330968064"/>
        <c:scaling>
          <c:orientation val="minMax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b="0"/>
                </a:pPr>
                <a:r>
                  <a:rPr lang="ru-RU" b="0"/>
                  <a:t>Плотность жилой застройки, кв.м./га</a:t>
                </a:r>
              </a:p>
            </c:rich>
          </c:tx>
          <c:layout/>
          <c:overlay val="0"/>
        </c:title>
        <c:numFmt formatCode="0" sourceLinked="1"/>
        <c:majorTickMark val="none"/>
        <c:minorTickMark val="none"/>
        <c:tickLblPos val="nextTo"/>
        <c:crossAx val="33096652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900">
          <a:latin typeface="Arial" pitchFamily="34" charset="0"/>
          <a:cs typeface="Arial" pitchFamily="34" charset="0"/>
        </a:defRPr>
      </a:pPr>
      <a:endParaRPr lang="ru-RU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/>
            </a:pPr>
            <a:r>
              <a:rPr lang="ru-RU" sz="1200"/>
              <a:t>Капитализация жилищного фонда, млн. руб./га</a:t>
            </a:r>
          </a:p>
        </c:rich>
      </c:tx>
      <c:layout>
        <c:manualLayout>
          <c:xMode val="edge"/>
          <c:yMode val="edge"/>
          <c:x val="0.11593775981054301"/>
          <c:y val="8.1193281754226174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6119757735180962"/>
          <c:y val="0.21876832160813092"/>
          <c:w val="0.53410146276632975"/>
          <c:h val="0.67625354115905201"/>
        </c:manualLayout>
      </c:layout>
      <c:lineChart>
        <c:grouping val="standard"/>
        <c:varyColors val="0"/>
        <c:ser>
          <c:idx val="1"/>
          <c:order val="0"/>
          <c:tx>
            <c:strRef>
              <c:f>'Медианная стоимость+капитализац'!$C$14:$C$15</c:f>
              <c:strCache>
                <c:ptCount val="1"/>
                <c:pt idx="0">
                  <c:v>Краснодарская агломерация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marker>
            <c:symbol val="none"/>
          </c:marker>
          <c:val>
            <c:numRef>
              <c:f>'Медианная стоимость+капитализац'!$C$16:$C$22</c:f>
              <c:numCache>
                <c:formatCode>General</c:formatCode>
                <c:ptCount val="7"/>
                <c:pt idx="0">
                  <c:v>659.19984321373124</c:v>
                </c:pt>
                <c:pt idx="1">
                  <c:v>150.69135031614059</c:v>
                </c:pt>
                <c:pt idx="2">
                  <c:v>189.45675396382569</c:v>
                </c:pt>
                <c:pt idx="3">
                  <c:v>130.5376356155661</c:v>
                </c:pt>
                <c:pt idx="4">
                  <c:v>7.3053522233359267</c:v>
                </c:pt>
                <c:pt idx="5">
                  <c:v>1.7628184187393749</c:v>
                </c:pt>
                <c:pt idx="6">
                  <c:v>22.796413184379105</c:v>
                </c:pt>
              </c:numCache>
            </c:numRef>
          </c:val>
          <c:smooth val="0"/>
        </c:ser>
        <c:ser>
          <c:idx val="2"/>
          <c:order val="1"/>
          <c:tx>
            <c:strRef>
              <c:f>'Медианная стоимость+капитализац'!$D$14:$D$15</c:f>
              <c:strCache>
                <c:ptCount val="1"/>
                <c:pt idx="0">
                  <c:v>Пермская агломерация</c:v>
                </c:pt>
              </c:strCache>
            </c:strRef>
          </c:tx>
          <c:spPr>
            <a:ln>
              <a:solidFill>
                <a:schemeClr val="accent2"/>
              </a:solidFill>
            </a:ln>
          </c:spPr>
          <c:marker>
            <c:symbol val="none"/>
          </c:marker>
          <c:val>
            <c:numRef>
              <c:f>'Медианная стоимость+капитализац'!$D$16:$D$22</c:f>
              <c:numCache>
                <c:formatCode>General</c:formatCode>
                <c:ptCount val="7"/>
                <c:pt idx="0">
                  <c:v>272.92625579666185</c:v>
                </c:pt>
                <c:pt idx="1">
                  <c:v>247.66906531026328</c:v>
                </c:pt>
                <c:pt idx="2">
                  <c:v>152.2360793932607</c:v>
                </c:pt>
                <c:pt idx="3">
                  <c:v>32.849275138154219</c:v>
                </c:pt>
                <c:pt idx="4">
                  <c:v>2.5342803209323272</c:v>
                </c:pt>
              </c:numCache>
            </c:numRef>
          </c:val>
          <c:smooth val="0"/>
        </c:ser>
        <c:ser>
          <c:idx val="3"/>
          <c:order val="2"/>
          <c:tx>
            <c:strRef>
              <c:f>'Медианная стоимость+капитализац'!$E$14:$E$15</c:f>
              <c:strCache>
                <c:ptCount val="1"/>
                <c:pt idx="0">
                  <c:v>Нижегородская агломерация</c:v>
                </c:pt>
              </c:strCache>
            </c:strRef>
          </c:tx>
          <c:spPr>
            <a:ln>
              <a:solidFill>
                <a:srgbClr val="00B050"/>
              </a:solidFill>
            </a:ln>
          </c:spPr>
          <c:marker>
            <c:symbol val="none"/>
          </c:marker>
          <c:val>
            <c:numRef>
              <c:f>'Медианная стоимость+капитализац'!$E$16:$E$22</c:f>
              <c:numCache>
                <c:formatCode>0.00</c:formatCode>
                <c:ptCount val="7"/>
                <c:pt idx="0">
                  <c:v>285.24200887788857</c:v>
                </c:pt>
                <c:pt idx="1">
                  <c:v>303.04708379193795</c:v>
                </c:pt>
                <c:pt idx="2">
                  <c:v>248.50733765751593</c:v>
                </c:pt>
                <c:pt idx="3">
                  <c:v>166.36638884070447</c:v>
                </c:pt>
                <c:pt idx="4">
                  <c:v>156.23828879147155</c:v>
                </c:pt>
                <c:pt idx="5">
                  <c:v>140.74577472046883</c:v>
                </c:pt>
                <c:pt idx="6">
                  <c:v>13.80154409023626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30986240"/>
        <c:axId val="330987776"/>
      </c:lineChart>
      <c:catAx>
        <c:axId val="330986240"/>
        <c:scaling>
          <c:orientation val="minMax"/>
        </c:scaling>
        <c:delete val="0"/>
        <c:axPos val="b"/>
        <c:majorTickMark val="none"/>
        <c:minorTickMark val="none"/>
        <c:tickLblPos val="nextTo"/>
        <c:crossAx val="330987776"/>
        <c:crosses val="autoZero"/>
        <c:auto val="1"/>
        <c:lblAlgn val="ctr"/>
        <c:lblOffset val="100"/>
        <c:noMultiLvlLbl val="0"/>
      </c:catAx>
      <c:valAx>
        <c:axId val="330987776"/>
        <c:scaling>
          <c:orientation val="minMax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b="0"/>
                </a:pPr>
                <a:r>
                  <a:rPr lang="ru-RU" b="0"/>
                  <a:t>Капитализация жилищного фонда, млн. руб./га</a:t>
                </a:r>
              </a:p>
            </c:rich>
          </c:tx>
          <c:layout/>
          <c:overlay val="0"/>
        </c:title>
        <c:numFmt formatCode="General" sourceLinked="1"/>
        <c:majorTickMark val="none"/>
        <c:minorTickMark val="none"/>
        <c:tickLblPos val="nextTo"/>
        <c:crossAx val="330986240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900">
          <a:latin typeface="Arial" pitchFamily="34" charset="0"/>
          <a:cs typeface="Arial" pitchFamily="34" charset="0"/>
        </a:defRPr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5300027496562925"/>
          <c:y val="2.4428151039392863E-2"/>
          <c:w val="0.61342832145981752"/>
          <c:h val="0.93159208382791714"/>
        </c:manualLayout>
      </c:layout>
      <c:barChart>
        <c:barDir val="bar"/>
        <c:grouping val="clustered"/>
        <c:varyColors val="0"/>
        <c:ser>
          <c:idx val="1"/>
          <c:order val="0"/>
          <c:tx>
            <c:v>ВГП, млрд руб.</c:v>
          </c:tx>
          <c:spPr>
            <a:solidFill>
              <a:srgbClr val="7962C4"/>
            </a:solidFill>
          </c:spPr>
          <c:invertIfNegative val="0"/>
          <c:dLbls>
            <c:txPr>
              <a:bodyPr/>
              <a:lstStyle/>
              <a:p>
                <a:pPr>
                  <a:defRPr sz="9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1!$O$4:$O$25</c:f>
              <c:strCache>
                <c:ptCount val="22"/>
                <c:pt idx="0">
                  <c:v>Московская </c:v>
                </c:pt>
                <c:pt idx="1">
                  <c:v>Санкт-Петербургская </c:v>
                </c:pt>
                <c:pt idx="2">
                  <c:v>Екатеринбургская </c:v>
                </c:pt>
                <c:pt idx="3">
                  <c:v>Самарско-Тольяттинская </c:v>
                </c:pt>
                <c:pt idx="4">
                  <c:v>Нижегородская </c:v>
                </c:pt>
                <c:pt idx="5">
                  <c:v>Сургутская </c:v>
                </c:pt>
                <c:pt idx="6">
                  <c:v>Новосибирская </c:v>
                </c:pt>
                <c:pt idx="7">
                  <c:v>Ростовская </c:v>
                </c:pt>
                <c:pt idx="8">
                  <c:v>Казанская </c:v>
                </c:pt>
                <c:pt idx="9">
                  <c:v>Красноярская </c:v>
                </c:pt>
                <c:pt idx="10">
                  <c:v>Уфимская </c:v>
                </c:pt>
                <c:pt idx="11">
                  <c:v>Краснодарская </c:v>
                </c:pt>
                <c:pt idx="12">
                  <c:v>Челябинская </c:v>
                </c:pt>
                <c:pt idx="13">
                  <c:v>Воронежская </c:v>
                </c:pt>
                <c:pt idx="14">
                  <c:v>Владивостокская </c:v>
                </c:pt>
                <c:pt idx="15">
                  <c:v>Иркутская </c:v>
                </c:pt>
                <c:pt idx="16">
                  <c:v>Омская </c:v>
                </c:pt>
                <c:pt idx="17">
                  <c:v>Волгоградская </c:v>
                </c:pt>
                <c:pt idx="18">
                  <c:v>Новокузнецкая </c:v>
                </c:pt>
                <c:pt idx="19">
                  <c:v>Ярославско-Рыбинская </c:v>
                </c:pt>
                <c:pt idx="20">
                  <c:v>Пермская </c:v>
                </c:pt>
                <c:pt idx="21">
                  <c:v>Саратовская </c:v>
                </c:pt>
              </c:strCache>
            </c:strRef>
          </c:cat>
          <c:val>
            <c:numRef>
              <c:f>Лист11!$P$4:$P$25</c:f>
              <c:numCache>
                <c:formatCode>0.0</c:formatCode>
                <c:ptCount val="22"/>
                <c:pt idx="0">
                  <c:v>16374.2443536509</c:v>
                </c:pt>
                <c:pt idx="1">
                  <c:v>4063.081345312723</c:v>
                </c:pt>
                <c:pt idx="2">
                  <c:v>1099.5479665838714</c:v>
                </c:pt>
                <c:pt idx="3">
                  <c:v>943.81375464149414</c:v>
                </c:pt>
                <c:pt idx="4">
                  <c:v>904.80453515577835</c:v>
                </c:pt>
                <c:pt idx="5">
                  <c:v>898.09649418951676</c:v>
                </c:pt>
                <c:pt idx="6">
                  <c:v>819.85398514904307</c:v>
                </c:pt>
                <c:pt idx="7">
                  <c:v>675.37341483193791</c:v>
                </c:pt>
                <c:pt idx="8">
                  <c:v>661.60901605981076</c:v>
                </c:pt>
                <c:pt idx="9">
                  <c:v>592.40596774190931</c:v>
                </c:pt>
                <c:pt idx="10">
                  <c:v>590.74741226878348</c:v>
                </c:pt>
                <c:pt idx="11">
                  <c:v>589.90424060057148</c:v>
                </c:pt>
                <c:pt idx="12">
                  <c:v>569.59120451601564</c:v>
                </c:pt>
                <c:pt idx="13">
                  <c:v>525.82150895089399</c:v>
                </c:pt>
                <c:pt idx="14">
                  <c:v>490.18925426041608</c:v>
                </c:pt>
                <c:pt idx="15">
                  <c:v>463.98516135099646</c:v>
                </c:pt>
                <c:pt idx="16">
                  <c:v>457.99202454891952</c:v>
                </c:pt>
                <c:pt idx="17">
                  <c:v>446.3564626261213</c:v>
                </c:pt>
                <c:pt idx="18">
                  <c:v>427.94834914519276</c:v>
                </c:pt>
                <c:pt idx="19">
                  <c:v>393.44619735449515</c:v>
                </c:pt>
                <c:pt idx="20">
                  <c:v>388.13532959212529</c:v>
                </c:pt>
                <c:pt idx="21">
                  <c:v>380.92581304675315</c:v>
                </c:pt>
              </c:numCache>
            </c:numRef>
          </c:val>
        </c:ser>
        <c:ser>
          <c:idx val="2"/>
          <c:order val="1"/>
          <c:tx>
            <c:v>Население, тыс. чел.</c:v>
          </c:tx>
          <c:spPr>
            <a:solidFill>
              <a:srgbClr val="EE2B2F"/>
            </a:solidFill>
          </c:spPr>
          <c:invertIfNegative val="0"/>
          <c:dLbls>
            <c:txPr>
              <a:bodyPr/>
              <a:lstStyle/>
              <a:p>
                <a:pPr>
                  <a:defRPr sz="9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1!$O$4:$O$25</c:f>
              <c:strCache>
                <c:ptCount val="22"/>
                <c:pt idx="0">
                  <c:v>Московская </c:v>
                </c:pt>
                <c:pt idx="1">
                  <c:v>Санкт-Петербургская </c:v>
                </c:pt>
                <c:pt idx="2">
                  <c:v>Екатеринбургская </c:v>
                </c:pt>
                <c:pt idx="3">
                  <c:v>Самарско-Тольяттинская </c:v>
                </c:pt>
                <c:pt idx="4">
                  <c:v>Нижегородская </c:v>
                </c:pt>
                <c:pt idx="5">
                  <c:v>Сургутская </c:v>
                </c:pt>
                <c:pt idx="6">
                  <c:v>Новосибирская </c:v>
                </c:pt>
                <c:pt idx="7">
                  <c:v>Ростовская </c:v>
                </c:pt>
                <c:pt idx="8">
                  <c:v>Казанская </c:v>
                </c:pt>
                <c:pt idx="9">
                  <c:v>Красноярская </c:v>
                </c:pt>
                <c:pt idx="10">
                  <c:v>Уфимская </c:v>
                </c:pt>
                <c:pt idx="11">
                  <c:v>Краснодарская </c:v>
                </c:pt>
                <c:pt idx="12">
                  <c:v>Челябинская </c:v>
                </c:pt>
                <c:pt idx="13">
                  <c:v>Воронежская </c:v>
                </c:pt>
                <c:pt idx="14">
                  <c:v>Владивостокская </c:v>
                </c:pt>
                <c:pt idx="15">
                  <c:v>Иркутская </c:v>
                </c:pt>
                <c:pt idx="16">
                  <c:v>Омская </c:v>
                </c:pt>
                <c:pt idx="17">
                  <c:v>Волгоградская </c:v>
                </c:pt>
                <c:pt idx="18">
                  <c:v>Новокузнецкая </c:v>
                </c:pt>
                <c:pt idx="19">
                  <c:v>Ярославско-Рыбинская </c:v>
                </c:pt>
                <c:pt idx="20">
                  <c:v>Пермская </c:v>
                </c:pt>
                <c:pt idx="21">
                  <c:v>Саратовская </c:v>
                </c:pt>
              </c:strCache>
            </c:strRef>
          </c:cat>
          <c:val>
            <c:numRef>
              <c:f>Лист11!$Q$4:$Q$25</c:f>
              <c:numCache>
                <c:formatCode>0.0</c:formatCode>
                <c:ptCount val="22"/>
                <c:pt idx="0">
                  <c:v>17044.5</c:v>
                </c:pt>
                <c:pt idx="1">
                  <c:v>6259</c:v>
                </c:pt>
                <c:pt idx="2">
                  <c:v>2201.4</c:v>
                </c:pt>
                <c:pt idx="3">
                  <c:v>2737.9</c:v>
                </c:pt>
                <c:pt idx="4">
                  <c:v>2087</c:v>
                </c:pt>
                <c:pt idx="5">
                  <c:v>642.00400000000002</c:v>
                </c:pt>
                <c:pt idx="6">
                  <c:v>2228.6</c:v>
                </c:pt>
                <c:pt idx="7">
                  <c:v>2083.6</c:v>
                </c:pt>
                <c:pt idx="8">
                  <c:v>1667.3</c:v>
                </c:pt>
                <c:pt idx="9">
                  <c:v>1348.4</c:v>
                </c:pt>
                <c:pt idx="10">
                  <c:v>1449.2</c:v>
                </c:pt>
                <c:pt idx="11">
                  <c:v>1403</c:v>
                </c:pt>
                <c:pt idx="12">
                  <c:v>1593.9</c:v>
                </c:pt>
                <c:pt idx="13">
                  <c:v>1535.8</c:v>
                </c:pt>
                <c:pt idx="14">
                  <c:v>1045.8</c:v>
                </c:pt>
                <c:pt idx="15">
                  <c:v>926.98900000000003</c:v>
                </c:pt>
                <c:pt idx="16">
                  <c:v>1416.797</c:v>
                </c:pt>
                <c:pt idx="17">
                  <c:v>1409.2</c:v>
                </c:pt>
                <c:pt idx="18">
                  <c:v>1152.2909999999999</c:v>
                </c:pt>
                <c:pt idx="19">
                  <c:v>1033.818</c:v>
                </c:pt>
                <c:pt idx="20">
                  <c:v>1340.6</c:v>
                </c:pt>
                <c:pt idx="21">
                  <c:v>1231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0"/>
        <c:axId val="214571648"/>
        <c:axId val="214585728"/>
      </c:barChart>
      <c:catAx>
        <c:axId val="214571648"/>
        <c:scaling>
          <c:orientation val="maxMin"/>
        </c:scaling>
        <c:delete val="0"/>
        <c:axPos val="l"/>
        <c:majorTickMark val="out"/>
        <c:minorTickMark val="none"/>
        <c:tickLblPos val="nextTo"/>
        <c:crossAx val="214585728"/>
        <c:crosses val="autoZero"/>
        <c:auto val="1"/>
        <c:lblAlgn val="ctr"/>
        <c:lblOffset val="100"/>
        <c:noMultiLvlLbl val="0"/>
      </c:catAx>
      <c:valAx>
        <c:axId val="214585728"/>
        <c:scaling>
          <c:orientation val="minMax"/>
        </c:scaling>
        <c:delete val="1"/>
        <c:axPos val="t"/>
        <c:numFmt formatCode="0.0" sourceLinked="1"/>
        <c:majorTickMark val="out"/>
        <c:minorTickMark val="none"/>
        <c:tickLblPos val="nextTo"/>
        <c:crossAx val="21457164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63568773903262088"/>
          <c:y val="0.44811232223499159"/>
          <c:w val="0.30884959380077492"/>
          <c:h val="6.9742643386028633E-2"/>
        </c:manualLayout>
      </c:layout>
      <c:overlay val="1"/>
      <c:txPr>
        <a:bodyPr/>
        <a:lstStyle/>
        <a:p>
          <a:pPr>
            <a:defRPr sz="90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50008729709678368"/>
          <c:y val="2.3779351530869498E-2"/>
          <c:w val="0.42923440529498996"/>
          <c:h val="0.95286103435066161"/>
        </c:manualLayout>
      </c:layout>
      <c:barChart>
        <c:barDir val="bar"/>
        <c:grouping val="clustered"/>
        <c:varyColors val="0"/>
        <c:ser>
          <c:idx val="0"/>
          <c:order val="0"/>
          <c:tx>
            <c:v>ВГП, млрд руб.</c:v>
          </c:tx>
          <c:spPr>
            <a:solidFill>
              <a:srgbClr val="7962C4"/>
            </a:solidFill>
            <a:ln>
              <a:solidFill>
                <a:srgbClr val="7962C4"/>
              </a:solidFill>
            </a:ln>
          </c:spPr>
          <c:invertIfNegative val="0"/>
          <c:dLbls>
            <c:txPr>
              <a:bodyPr/>
              <a:lstStyle/>
              <a:p>
                <a:pPr>
                  <a:defRPr sz="9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1!$O$28:$O$50</c:f>
              <c:strCache>
                <c:ptCount val="23"/>
                <c:pt idx="0">
                  <c:v>Набережно-Челнинская </c:v>
                </c:pt>
                <c:pt idx="1">
                  <c:v>Ижевская </c:v>
                </c:pt>
                <c:pt idx="2">
                  <c:v>Тульско-Новомосковская </c:v>
                </c:pt>
                <c:pt idx="3">
                  <c:v>Южно-Сахалинская </c:v>
                </c:pt>
                <c:pt idx="4">
                  <c:v>Мурманская </c:v>
                </c:pt>
                <c:pt idx="5">
                  <c:v>Томская </c:v>
                </c:pt>
                <c:pt idx="6">
                  <c:v>Ульяновско-Димитровградская </c:v>
                </c:pt>
                <c:pt idx="7">
                  <c:v>Ставропольская </c:v>
                </c:pt>
                <c:pt idx="8">
                  <c:v>Барнаульская </c:v>
                </c:pt>
                <c:pt idx="9">
                  <c:v>Кировская </c:v>
                </c:pt>
                <c:pt idx="10">
                  <c:v>Липецкая </c:v>
                </c:pt>
                <c:pt idx="11">
                  <c:v>Нижне-Тагильская </c:v>
                </c:pt>
                <c:pt idx="12">
                  <c:v>Чебоксарская </c:v>
                </c:pt>
                <c:pt idx="13">
                  <c:v>Альметьевская </c:v>
                </c:pt>
                <c:pt idx="14">
                  <c:v>Брянская </c:v>
                </c:pt>
                <c:pt idx="15">
                  <c:v>Кавминводская </c:v>
                </c:pt>
                <c:pt idx="16">
                  <c:v>Старооскольская </c:v>
                </c:pt>
                <c:pt idx="17">
                  <c:v>Махачкалинская </c:v>
                </c:pt>
                <c:pt idx="18">
                  <c:v>Абаканская </c:v>
                </c:pt>
                <c:pt idx="19">
                  <c:v>Златоустско-Миасская </c:v>
                </c:pt>
                <c:pt idx="20">
                  <c:v>Владикавказская </c:v>
                </c:pt>
                <c:pt idx="21">
                  <c:v>Орская </c:v>
                </c:pt>
                <c:pt idx="22">
                  <c:v>Стерлитамакская </c:v>
                </c:pt>
              </c:strCache>
            </c:strRef>
          </c:cat>
          <c:val>
            <c:numRef>
              <c:f>Лист11!$P$28:$P$50</c:f>
              <c:numCache>
                <c:formatCode>0.0</c:formatCode>
                <c:ptCount val="23"/>
                <c:pt idx="0">
                  <c:v>378.74246368771406</c:v>
                </c:pt>
                <c:pt idx="1">
                  <c:v>359.78855034674706</c:v>
                </c:pt>
                <c:pt idx="2">
                  <c:v>353.6683008897092</c:v>
                </c:pt>
                <c:pt idx="3">
                  <c:v>321.02451297607206</c:v>
                </c:pt>
                <c:pt idx="4">
                  <c:v>319.48081037384128</c:v>
                </c:pt>
                <c:pt idx="5">
                  <c:v>303.87905125377296</c:v>
                </c:pt>
                <c:pt idx="6">
                  <c:v>273.03685384939348</c:v>
                </c:pt>
                <c:pt idx="7">
                  <c:v>226.95038540264065</c:v>
                </c:pt>
                <c:pt idx="8">
                  <c:v>226.8712199982827</c:v>
                </c:pt>
                <c:pt idx="9">
                  <c:v>220.8249104679245</c:v>
                </c:pt>
                <c:pt idx="10">
                  <c:v>215.57782414503643</c:v>
                </c:pt>
                <c:pt idx="11">
                  <c:v>200.86379782854374</c:v>
                </c:pt>
                <c:pt idx="12">
                  <c:v>195.88461558422651</c:v>
                </c:pt>
                <c:pt idx="13">
                  <c:v>174.25618669671002</c:v>
                </c:pt>
                <c:pt idx="14">
                  <c:v>171.67076890736317</c:v>
                </c:pt>
                <c:pt idx="15">
                  <c:v>157.53296941744304</c:v>
                </c:pt>
                <c:pt idx="16">
                  <c:v>144.37724984025385</c:v>
                </c:pt>
                <c:pt idx="17">
                  <c:v>139.44192819647949</c:v>
                </c:pt>
                <c:pt idx="18">
                  <c:v>135.12847683567486</c:v>
                </c:pt>
                <c:pt idx="19">
                  <c:v>123.32543679251386</c:v>
                </c:pt>
                <c:pt idx="20">
                  <c:v>88.665335518665998</c:v>
                </c:pt>
                <c:pt idx="21">
                  <c:v>87.931213922338841</c:v>
                </c:pt>
                <c:pt idx="22">
                  <c:v>84.372038643103494</c:v>
                </c:pt>
              </c:numCache>
            </c:numRef>
          </c:val>
        </c:ser>
        <c:ser>
          <c:idx val="1"/>
          <c:order val="1"/>
          <c:tx>
            <c:v>Население, тыс. чел.</c:v>
          </c:tx>
          <c:spPr>
            <a:solidFill>
              <a:srgbClr val="EE2B2F"/>
            </a:solidFill>
          </c:spPr>
          <c:invertIfNegative val="0"/>
          <c:dLbls>
            <c:txPr>
              <a:bodyPr/>
              <a:lstStyle/>
              <a:p>
                <a:pPr>
                  <a:defRPr sz="9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1!$O$28:$O$50</c:f>
              <c:strCache>
                <c:ptCount val="23"/>
                <c:pt idx="0">
                  <c:v>Набережно-Челнинская </c:v>
                </c:pt>
                <c:pt idx="1">
                  <c:v>Ижевская </c:v>
                </c:pt>
                <c:pt idx="2">
                  <c:v>Тульско-Новомосковская </c:v>
                </c:pt>
                <c:pt idx="3">
                  <c:v>Южно-Сахалинская </c:v>
                </c:pt>
                <c:pt idx="4">
                  <c:v>Мурманская </c:v>
                </c:pt>
                <c:pt idx="5">
                  <c:v>Томская </c:v>
                </c:pt>
                <c:pt idx="6">
                  <c:v>Ульяновско-Димитровградская </c:v>
                </c:pt>
                <c:pt idx="7">
                  <c:v>Ставропольская </c:v>
                </c:pt>
                <c:pt idx="8">
                  <c:v>Барнаульская </c:v>
                </c:pt>
                <c:pt idx="9">
                  <c:v>Кировская </c:v>
                </c:pt>
                <c:pt idx="10">
                  <c:v>Липецкая </c:v>
                </c:pt>
                <c:pt idx="11">
                  <c:v>Нижне-Тагильская </c:v>
                </c:pt>
                <c:pt idx="12">
                  <c:v>Чебоксарская </c:v>
                </c:pt>
                <c:pt idx="13">
                  <c:v>Альметьевская </c:v>
                </c:pt>
                <c:pt idx="14">
                  <c:v>Брянская </c:v>
                </c:pt>
                <c:pt idx="15">
                  <c:v>Кавминводская </c:v>
                </c:pt>
                <c:pt idx="16">
                  <c:v>Старооскольская </c:v>
                </c:pt>
                <c:pt idx="17">
                  <c:v>Махачкалинская </c:v>
                </c:pt>
                <c:pt idx="18">
                  <c:v>Абаканская </c:v>
                </c:pt>
                <c:pt idx="19">
                  <c:v>Златоустско-Миасская </c:v>
                </c:pt>
                <c:pt idx="20">
                  <c:v>Владикавказская </c:v>
                </c:pt>
                <c:pt idx="21">
                  <c:v>Орская </c:v>
                </c:pt>
                <c:pt idx="22">
                  <c:v>Стерлитамакская </c:v>
                </c:pt>
              </c:strCache>
            </c:strRef>
          </c:cat>
          <c:val>
            <c:numRef>
              <c:f>Лист11!$Q$28:$Q$50</c:f>
              <c:numCache>
                <c:formatCode>0.0</c:formatCode>
                <c:ptCount val="23"/>
                <c:pt idx="0">
                  <c:v>960.94500000000005</c:v>
                </c:pt>
                <c:pt idx="1">
                  <c:v>978.03700000000003</c:v>
                </c:pt>
                <c:pt idx="2">
                  <c:v>1016.633</c:v>
                </c:pt>
                <c:pt idx="3">
                  <c:v>284.12799999999999</c:v>
                </c:pt>
                <c:pt idx="4">
                  <c:v>438.35899999999998</c:v>
                </c:pt>
                <c:pt idx="5">
                  <c:v>771.23</c:v>
                </c:pt>
                <c:pt idx="6">
                  <c:v>951.81</c:v>
                </c:pt>
                <c:pt idx="7">
                  <c:v>933.10699999999997</c:v>
                </c:pt>
                <c:pt idx="8">
                  <c:v>838.745</c:v>
                </c:pt>
                <c:pt idx="9">
                  <c:v>683.91099999999994</c:v>
                </c:pt>
                <c:pt idx="10">
                  <c:v>589.17899999999997</c:v>
                </c:pt>
                <c:pt idx="11">
                  <c:v>535.197</c:v>
                </c:pt>
                <c:pt idx="12">
                  <c:v>770.78800000000001</c:v>
                </c:pt>
                <c:pt idx="13">
                  <c:v>396.33300000000003</c:v>
                </c:pt>
                <c:pt idx="14">
                  <c:v>573.95299999999997</c:v>
                </c:pt>
                <c:pt idx="15">
                  <c:v>776.30899999999997</c:v>
                </c:pt>
                <c:pt idx="16">
                  <c:v>409.35599999999999</c:v>
                </c:pt>
                <c:pt idx="17">
                  <c:v>1076.4059999999999</c:v>
                </c:pt>
                <c:pt idx="18">
                  <c:v>423.11900000000003</c:v>
                </c:pt>
                <c:pt idx="19">
                  <c:v>499.72500000000002</c:v>
                </c:pt>
                <c:pt idx="20">
                  <c:v>486.71800000000002</c:v>
                </c:pt>
                <c:pt idx="21">
                  <c:v>405.46600000000001</c:v>
                </c:pt>
                <c:pt idx="22">
                  <c:v>564.45000000000005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0"/>
        <c:axId val="214609920"/>
        <c:axId val="214611456"/>
      </c:barChart>
      <c:catAx>
        <c:axId val="214609920"/>
        <c:scaling>
          <c:orientation val="maxMin"/>
        </c:scaling>
        <c:delete val="0"/>
        <c:axPos val="l"/>
        <c:majorTickMark val="out"/>
        <c:minorTickMark val="none"/>
        <c:tickLblPos val="nextTo"/>
        <c:crossAx val="214611456"/>
        <c:crosses val="autoZero"/>
        <c:auto val="1"/>
        <c:lblAlgn val="ctr"/>
        <c:lblOffset val="100"/>
        <c:noMultiLvlLbl val="0"/>
      </c:catAx>
      <c:valAx>
        <c:axId val="214611456"/>
        <c:scaling>
          <c:orientation val="minMax"/>
        </c:scaling>
        <c:delete val="1"/>
        <c:axPos val="t"/>
        <c:numFmt formatCode="0.0" sourceLinked="1"/>
        <c:majorTickMark val="out"/>
        <c:minorTickMark val="none"/>
        <c:tickLblPos val="nextTo"/>
        <c:crossAx val="214609920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"/>
          <c:y val="0.8761386045933558"/>
          <c:w val="0.25938549250681464"/>
          <c:h val="9.6086680955369139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ru-RU"/>
              <a:t>ВГП (ВВП) на душу населения, тыс. руб.</a:t>
            </a:r>
          </a:p>
        </c:rich>
      </c:tx>
      <c:layout/>
      <c:overlay val="0"/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v>ВГП (ВВП) на душу населения, тыс. руб.</c:v>
          </c:tx>
          <c:invertIfNegative val="0"/>
          <c:dPt>
            <c:idx val="0"/>
            <c:invertIfNegative val="0"/>
            <c:bubble3D val="0"/>
            <c:spPr>
              <a:solidFill>
                <a:srgbClr val="EE2B2F"/>
              </a:solidFill>
            </c:spPr>
          </c:dPt>
          <c:dPt>
            <c:idx val="1"/>
            <c:invertIfNegative val="0"/>
            <c:bubble3D val="0"/>
            <c:spPr>
              <a:solidFill>
                <a:srgbClr val="276AA6"/>
              </a:solidFill>
            </c:spPr>
          </c:dPt>
          <c:dPt>
            <c:idx val="2"/>
            <c:invertIfNegative val="0"/>
            <c:bubble3D val="0"/>
            <c:spPr>
              <a:solidFill>
                <a:srgbClr val="276AA6"/>
              </a:solidFill>
            </c:spPr>
          </c:dPt>
          <c:dPt>
            <c:idx val="3"/>
            <c:invertIfNegative val="0"/>
            <c:bubble3D val="0"/>
            <c:spPr>
              <a:solidFill>
                <a:srgbClr val="276AA6"/>
              </a:solidFill>
            </c:spPr>
          </c:dPt>
          <c:dPt>
            <c:idx val="4"/>
            <c:invertIfNegative val="0"/>
            <c:bubble3D val="0"/>
            <c:spPr>
              <a:solidFill>
                <a:srgbClr val="276AA6"/>
              </a:solidFill>
            </c:spPr>
          </c:dPt>
          <c:dLbls>
            <c:dLbl>
              <c:idx val="0"/>
              <c:layout/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/>
                      <a:t>589</a:t>
                    </a:r>
                  </a:p>
                </c:rich>
              </c:tx>
              <c:numFmt formatCode="0.0" sourceLinked="0"/>
              <c:spPr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3!$E$5:$E$9</c:f>
              <c:strCache>
                <c:ptCount val="5"/>
                <c:pt idx="0">
                  <c:v>Россия</c:v>
                </c:pt>
                <c:pt idx="1">
                  <c:v>Агломерации</c:v>
                </c:pt>
                <c:pt idx="2">
                  <c:v>Группа С</c:v>
                </c:pt>
                <c:pt idx="3">
                  <c:v>Группа В</c:v>
                </c:pt>
                <c:pt idx="4">
                  <c:v>Группа А</c:v>
                </c:pt>
              </c:strCache>
            </c:strRef>
          </c:cat>
          <c:val>
            <c:numRef>
              <c:f>Лист13!$F$5:$F$9</c:f>
              <c:numCache>
                <c:formatCode>0.0</c:formatCode>
                <c:ptCount val="5"/>
                <c:pt idx="0">
                  <c:v>570.10149801916054</c:v>
                </c:pt>
                <c:pt idx="1">
                  <c:v>550.38204071476446</c:v>
                </c:pt>
                <c:pt idx="2">
                  <c:v>422.1718882213537</c:v>
                </c:pt>
                <c:pt idx="3">
                  <c:v>359.694965302904</c:v>
                </c:pt>
                <c:pt idx="4">
                  <c:v>762.15424732571921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-25"/>
        <c:axId val="214655744"/>
        <c:axId val="214657280"/>
      </c:barChart>
      <c:catAx>
        <c:axId val="214655744"/>
        <c:scaling>
          <c:orientation val="minMax"/>
        </c:scaling>
        <c:delete val="0"/>
        <c:axPos val="l"/>
        <c:majorTickMark val="none"/>
        <c:minorTickMark val="none"/>
        <c:tickLblPos val="nextTo"/>
        <c:crossAx val="214657280"/>
        <c:crosses val="autoZero"/>
        <c:auto val="1"/>
        <c:lblAlgn val="ctr"/>
        <c:lblOffset val="100"/>
        <c:noMultiLvlLbl val="0"/>
      </c:catAx>
      <c:valAx>
        <c:axId val="214657280"/>
        <c:scaling>
          <c:orientation val="minMax"/>
        </c:scaling>
        <c:delete val="1"/>
        <c:axPos val="b"/>
        <c:numFmt formatCode="0.0" sourceLinked="1"/>
        <c:majorTickMark val="none"/>
        <c:minorTickMark val="none"/>
        <c:tickLblPos val="nextTo"/>
        <c:crossAx val="21465574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pPr>
      <a:endParaRPr lang="ru-RU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156379870913997"/>
          <c:y val="5.0925925925925923E-2"/>
          <c:w val="0.89332976189953439"/>
          <c:h val="0.42209447675053702"/>
        </c:manualLayout>
      </c:layout>
      <c:barChart>
        <c:barDir val="col"/>
        <c:grouping val="clustered"/>
        <c:varyColors val="0"/>
        <c:ser>
          <c:idx val="0"/>
          <c:order val="0"/>
          <c:tx>
            <c:v>ВГП на душу населения, тыс. руб.</c:v>
          </c:tx>
          <c:spPr>
            <a:solidFill>
              <a:srgbClr val="008F00"/>
            </a:solidFill>
          </c:spPr>
          <c:invertIfNegative val="0"/>
          <c:cat>
            <c:strRef>
              <c:f>Лист7!$C$3:$C$12</c:f>
              <c:strCache>
                <c:ptCount val="10"/>
                <c:pt idx="0">
                  <c:v>Красноярская </c:v>
                </c:pt>
                <c:pt idx="1">
                  <c:v>Альметьевская </c:v>
                </c:pt>
                <c:pt idx="2">
                  <c:v>Владивостокская </c:v>
                </c:pt>
                <c:pt idx="3">
                  <c:v>Екатеринбургская </c:v>
                </c:pt>
                <c:pt idx="4">
                  <c:v>Иркутская </c:v>
                </c:pt>
                <c:pt idx="5">
                  <c:v>Санкт-Петербургская </c:v>
                </c:pt>
                <c:pt idx="6">
                  <c:v>Мурманская </c:v>
                </c:pt>
                <c:pt idx="7">
                  <c:v>Московская </c:v>
                </c:pt>
                <c:pt idx="8">
                  <c:v>Южно-Сахалинская </c:v>
                </c:pt>
                <c:pt idx="9">
                  <c:v>Сургутская </c:v>
                </c:pt>
              </c:strCache>
            </c:strRef>
          </c:cat>
          <c:val>
            <c:numRef>
              <c:f>Лист7!$D$3:$D$12</c:f>
              <c:numCache>
                <c:formatCode>0.0</c:formatCode>
                <c:ptCount val="10"/>
                <c:pt idx="0">
                  <c:v>439.33993454606144</c:v>
                </c:pt>
                <c:pt idx="1">
                  <c:v>439.67115202799158</c:v>
                </c:pt>
                <c:pt idx="2">
                  <c:v>468.72179600345777</c:v>
                </c:pt>
                <c:pt idx="3">
                  <c:v>499.47668146809815</c:v>
                </c:pt>
                <c:pt idx="4">
                  <c:v>500.52930655163811</c:v>
                </c:pt>
                <c:pt idx="5">
                  <c:v>649.15822740257602</c:v>
                </c:pt>
                <c:pt idx="6">
                  <c:v>728.81088416991838</c:v>
                </c:pt>
                <c:pt idx="7">
                  <c:v>960.67613327765241</c:v>
                </c:pt>
                <c:pt idx="8">
                  <c:v>1129.858771314591</c:v>
                </c:pt>
                <c:pt idx="9">
                  <c:v>1398.8954806971867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14665856"/>
        <c:axId val="214671744"/>
      </c:barChart>
      <c:catAx>
        <c:axId val="214665856"/>
        <c:scaling>
          <c:orientation val="minMax"/>
        </c:scaling>
        <c:delete val="0"/>
        <c:axPos val="b"/>
        <c:majorTickMark val="none"/>
        <c:minorTickMark val="none"/>
        <c:tickLblPos val="nextTo"/>
        <c:crossAx val="214671744"/>
        <c:crosses val="autoZero"/>
        <c:auto val="1"/>
        <c:lblAlgn val="ctr"/>
        <c:lblOffset val="100"/>
        <c:noMultiLvlLbl val="0"/>
      </c:catAx>
      <c:valAx>
        <c:axId val="214671744"/>
        <c:scaling>
          <c:orientation val="minMax"/>
        </c:scaling>
        <c:delete val="1"/>
        <c:axPos val="l"/>
        <c:numFmt formatCode="0.0" sourceLinked="1"/>
        <c:majorTickMark val="none"/>
        <c:minorTickMark val="none"/>
        <c:tickLblPos val="nextTo"/>
        <c:crossAx val="214665856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26953198722688254"/>
          <c:y val="0.9020049577136191"/>
          <c:w val="0.52499496649725796"/>
          <c:h val="8.8735783027121609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50"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pPr>
      <a:endParaRPr lang="ru-RU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3711134733556"/>
          <c:y val="1.6037051092076572E-2"/>
          <c:w val="0.64896288865266438"/>
          <c:h val="0.92096058163769323"/>
        </c:manualLayout>
      </c:layout>
      <c:barChart>
        <c:barDir val="bar"/>
        <c:grouping val="clustered"/>
        <c:varyColors val="0"/>
        <c:ser>
          <c:idx val="0"/>
          <c:order val="0"/>
          <c:tx>
            <c:v>Изменение реального ВГП за 3 года</c:v>
          </c:tx>
          <c:spPr>
            <a:solidFill>
              <a:srgbClr val="276AA6"/>
            </a:solidFill>
          </c:spPr>
          <c:invertIfNegative val="0"/>
          <c:dLbls>
            <c:txPr>
              <a:bodyPr/>
              <a:lstStyle/>
              <a:p>
                <a:pPr>
                  <a:defRPr sz="8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9!$D$5:$D$49</c:f>
              <c:strCache>
                <c:ptCount val="45"/>
                <c:pt idx="0">
                  <c:v>Нижне-Тагильская </c:v>
                </c:pt>
                <c:pt idx="1">
                  <c:v>Ставропольская </c:v>
                </c:pt>
                <c:pt idx="2">
                  <c:v>Владикавказская </c:v>
                </c:pt>
                <c:pt idx="3">
                  <c:v>Брянская </c:v>
                </c:pt>
                <c:pt idx="4">
                  <c:v>Златоустско-Миасская </c:v>
                </c:pt>
                <c:pt idx="5">
                  <c:v>Красноярская </c:v>
                </c:pt>
                <c:pt idx="6">
                  <c:v>Омская </c:v>
                </c:pt>
                <c:pt idx="7">
                  <c:v>Чебоксарская </c:v>
                </c:pt>
                <c:pt idx="8">
                  <c:v>Стерлитамакская </c:v>
                </c:pt>
                <c:pt idx="9">
                  <c:v>Пермская </c:v>
                </c:pt>
                <c:pt idx="10">
                  <c:v>Липецкая </c:v>
                </c:pt>
                <c:pt idx="11">
                  <c:v>Саратовская </c:v>
                </c:pt>
                <c:pt idx="12">
                  <c:v>Самарско-Тольяттинская </c:v>
                </c:pt>
                <c:pt idx="13">
                  <c:v>Барнаульская </c:v>
                </c:pt>
                <c:pt idx="14">
                  <c:v>Абаканская </c:v>
                </c:pt>
                <c:pt idx="15">
                  <c:v>Волгоградская </c:v>
                </c:pt>
                <c:pt idx="16">
                  <c:v>Ростовская </c:v>
                </c:pt>
                <c:pt idx="17">
                  <c:v>Кавминводская </c:v>
                </c:pt>
                <c:pt idx="18">
                  <c:v>Иркутская </c:v>
                </c:pt>
                <c:pt idx="19">
                  <c:v>Кировская </c:v>
                </c:pt>
                <c:pt idx="20">
                  <c:v>Владивостокская </c:v>
                </c:pt>
                <c:pt idx="21">
                  <c:v>Новосибирская </c:v>
                </c:pt>
                <c:pt idx="22">
                  <c:v>Томская </c:v>
                </c:pt>
                <c:pt idx="23">
                  <c:v>Екатеринбургская </c:v>
                </c:pt>
                <c:pt idx="24">
                  <c:v>Орская </c:v>
                </c:pt>
                <c:pt idx="25">
                  <c:v>Челябинская </c:v>
                </c:pt>
                <c:pt idx="26">
                  <c:v>Старооскольская </c:v>
                </c:pt>
                <c:pt idx="27">
                  <c:v>Сургутская </c:v>
                </c:pt>
                <c:pt idx="28">
                  <c:v>Воронежская </c:v>
                </c:pt>
                <c:pt idx="29">
                  <c:v>Мурманская </c:v>
                </c:pt>
                <c:pt idx="30">
                  <c:v>Нижегородская </c:v>
                </c:pt>
                <c:pt idx="31">
                  <c:v>Ульяновско-Димитровградская </c:v>
                </c:pt>
                <c:pt idx="32">
                  <c:v>Ижевская </c:v>
                </c:pt>
                <c:pt idx="33">
                  <c:v>Уфимская </c:v>
                </c:pt>
                <c:pt idx="34">
                  <c:v>Краснодарская </c:v>
                </c:pt>
                <c:pt idx="35">
                  <c:v>Ярославско-Рыбинская </c:v>
                </c:pt>
                <c:pt idx="36">
                  <c:v>Альметьевская </c:v>
                </c:pt>
                <c:pt idx="37">
                  <c:v>Набережно-Челнинская </c:v>
                </c:pt>
                <c:pt idx="38">
                  <c:v>Казанская </c:v>
                </c:pt>
                <c:pt idx="39">
                  <c:v>Новокузнецкая </c:v>
                </c:pt>
                <c:pt idx="40">
                  <c:v>Московская </c:v>
                </c:pt>
                <c:pt idx="41">
                  <c:v>Махачкалинская </c:v>
                </c:pt>
                <c:pt idx="42">
                  <c:v>Санкт-Петербургская </c:v>
                </c:pt>
                <c:pt idx="43">
                  <c:v>Южно-Сахалинская </c:v>
                </c:pt>
                <c:pt idx="44">
                  <c:v>Тульско-Новомосковская </c:v>
                </c:pt>
              </c:strCache>
            </c:strRef>
          </c:cat>
          <c:val>
            <c:numRef>
              <c:f>Лист9!$H$5:$H$49</c:f>
              <c:numCache>
                <c:formatCode>0.0%</c:formatCode>
                <c:ptCount val="45"/>
                <c:pt idx="0">
                  <c:v>0.77261940271391361</c:v>
                </c:pt>
                <c:pt idx="1">
                  <c:v>0.79521068648630788</c:v>
                </c:pt>
                <c:pt idx="2">
                  <c:v>0.80569876287755227</c:v>
                </c:pt>
                <c:pt idx="3">
                  <c:v>0.80734047033384593</c:v>
                </c:pt>
                <c:pt idx="4">
                  <c:v>0.81478907831086955</c:v>
                </c:pt>
                <c:pt idx="5">
                  <c:v>0.8225388384790262</c:v>
                </c:pt>
                <c:pt idx="6">
                  <c:v>0.82546942016260094</c:v>
                </c:pt>
                <c:pt idx="7">
                  <c:v>0.82788209882289243</c:v>
                </c:pt>
                <c:pt idx="8">
                  <c:v>0.83273568867240277</c:v>
                </c:pt>
                <c:pt idx="9">
                  <c:v>0.83846551940969638</c:v>
                </c:pt>
                <c:pt idx="10">
                  <c:v>0.83897030381145821</c:v>
                </c:pt>
                <c:pt idx="11">
                  <c:v>0.84133277551347307</c:v>
                </c:pt>
                <c:pt idx="12">
                  <c:v>0.84450435523256151</c:v>
                </c:pt>
                <c:pt idx="13">
                  <c:v>0.84469785781859241</c:v>
                </c:pt>
                <c:pt idx="14">
                  <c:v>0.84919479474007431</c:v>
                </c:pt>
                <c:pt idx="15">
                  <c:v>0.85139541189508872</c:v>
                </c:pt>
                <c:pt idx="16">
                  <c:v>0.85169625968122031</c:v>
                </c:pt>
                <c:pt idx="17">
                  <c:v>0.8527814476865262</c:v>
                </c:pt>
                <c:pt idx="18">
                  <c:v>0.85510609324765918</c:v>
                </c:pt>
                <c:pt idx="19">
                  <c:v>0.85945210239420322</c:v>
                </c:pt>
                <c:pt idx="20">
                  <c:v>0.85962277618204119</c:v>
                </c:pt>
                <c:pt idx="21">
                  <c:v>0.8600633979633131</c:v>
                </c:pt>
                <c:pt idx="22">
                  <c:v>0.8660094858787265</c:v>
                </c:pt>
                <c:pt idx="23">
                  <c:v>0.87339459306427447</c:v>
                </c:pt>
                <c:pt idx="24">
                  <c:v>0.87443583536613512</c:v>
                </c:pt>
                <c:pt idx="25">
                  <c:v>0.87478550123637266</c:v>
                </c:pt>
                <c:pt idx="26">
                  <c:v>0.87832196006219276</c:v>
                </c:pt>
                <c:pt idx="27">
                  <c:v>0.88067585223181222</c:v>
                </c:pt>
                <c:pt idx="28">
                  <c:v>0.88506050836434236</c:v>
                </c:pt>
                <c:pt idx="29">
                  <c:v>0.88704026622701104</c:v>
                </c:pt>
                <c:pt idx="30">
                  <c:v>0.88730355276353745</c:v>
                </c:pt>
                <c:pt idx="31">
                  <c:v>0.88807003151222597</c:v>
                </c:pt>
                <c:pt idx="32">
                  <c:v>0.8945219824706131</c:v>
                </c:pt>
                <c:pt idx="33">
                  <c:v>0.90275208909053006</c:v>
                </c:pt>
                <c:pt idx="34">
                  <c:v>0.91225295648615734</c:v>
                </c:pt>
                <c:pt idx="35">
                  <c:v>0.91245517819902244</c:v>
                </c:pt>
                <c:pt idx="36">
                  <c:v>0.91509827507972086</c:v>
                </c:pt>
                <c:pt idx="37">
                  <c:v>0.93766551263997844</c:v>
                </c:pt>
                <c:pt idx="38">
                  <c:v>0.95235783527979112</c:v>
                </c:pt>
                <c:pt idx="39">
                  <c:v>0.95292099372894035</c:v>
                </c:pt>
                <c:pt idx="40">
                  <c:v>0.97572754813227802</c:v>
                </c:pt>
                <c:pt idx="41">
                  <c:v>1.0036462892911295</c:v>
                </c:pt>
                <c:pt idx="42">
                  <c:v>1.0218444830873865</c:v>
                </c:pt>
                <c:pt idx="43">
                  <c:v>1.0286430505838595</c:v>
                </c:pt>
                <c:pt idx="44">
                  <c:v>1.075998207953336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9061248"/>
        <c:axId val="222569216"/>
      </c:barChart>
      <c:catAx>
        <c:axId val="219061248"/>
        <c:scaling>
          <c:orientation val="minMax"/>
        </c:scaling>
        <c:delete val="0"/>
        <c:axPos val="l"/>
        <c:majorTickMark val="out"/>
        <c:minorTickMark val="none"/>
        <c:tickLblPos val="nextTo"/>
        <c:txPr>
          <a:bodyPr/>
          <a:lstStyle/>
          <a:p>
            <a:pPr>
              <a:defRPr sz="700"/>
            </a:pPr>
            <a:endParaRPr lang="ru-RU"/>
          </a:p>
        </c:txPr>
        <c:crossAx val="222569216"/>
        <c:crosses val="autoZero"/>
        <c:auto val="1"/>
        <c:lblAlgn val="ctr"/>
        <c:lblOffset val="100"/>
        <c:noMultiLvlLbl val="0"/>
      </c:catAx>
      <c:valAx>
        <c:axId val="222569216"/>
        <c:scaling>
          <c:orientation val="minMax"/>
        </c:scaling>
        <c:delete val="1"/>
        <c:axPos val="b"/>
        <c:numFmt formatCode="0.0%" sourceLinked="1"/>
        <c:majorTickMark val="out"/>
        <c:minorTickMark val="none"/>
        <c:tickLblPos val="nextTo"/>
        <c:crossAx val="219061248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txPr>
    <a:bodyPr/>
    <a:lstStyle/>
    <a:p>
      <a:pPr>
        <a:defRPr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pPr>
      <a:endParaRPr lang="ru-RU"/>
    </a:p>
  </c:txPr>
  <c:externalData r:id="rId1">
    <c:autoUpdate val="0"/>
  </c:externalData>
  <c:userShapes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/>
            </a:pPr>
            <a:r>
              <a:rPr lang="ru-RU" sz="1200" dirty="0"/>
              <a:t>Среднегодовые темпы снижения реального ВГП (по России - ВВП) в 2013-2016 гг.</a:t>
            </a:r>
          </a:p>
        </c:rich>
      </c:tx>
      <c:layout>
        <c:manualLayout>
          <c:xMode val="edge"/>
          <c:yMode val="edge"/>
          <c:x val="0.13741996552813079"/>
          <c:y val="0.84338424843494586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2.5413709541128822E-2"/>
          <c:y val="5.9039760764296539E-2"/>
          <c:w val="0.94917258091774237"/>
          <c:h val="0.452523495458122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D$18</c:f>
              <c:strCache>
                <c:ptCount val="1"/>
                <c:pt idx="0">
                  <c:v>Среднегодовые темпы снижения реального ВГП (по России - ВВП) в 2013-2016 гг.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rgbClr val="FF0000"/>
              </a:solidFill>
            </c:spPr>
          </c:dPt>
          <c:dPt>
            <c:idx val="2"/>
            <c:invertIfNegative val="0"/>
            <c:bubble3D val="0"/>
            <c:spPr>
              <a:solidFill>
                <a:schemeClr val="accent6">
                  <a:lumMod val="75000"/>
                </a:schemeClr>
              </a:solidFill>
            </c:spPr>
          </c:dPt>
          <c:dPt>
            <c:idx val="3"/>
            <c:invertIfNegative val="0"/>
            <c:bubble3D val="0"/>
            <c:spPr>
              <a:solidFill>
                <a:srgbClr val="FFC000"/>
              </a:solidFill>
            </c:spPr>
          </c:dPt>
          <c:dPt>
            <c:idx val="4"/>
            <c:invertIfNegative val="0"/>
            <c:bubble3D val="0"/>
            <c:spPr>
              <a:solidFill>
                <a:srgbClr val="1CADBD"/>
              </a:solidFill>
            </c:spPr>
          </c:dPt>
          <c:dLbls>
            <c:dLbl>
              <c:idx val="0"/>
              <c:layout>
                <c:manualLayout>
                  <c:x val="0"/>
                  <c:y val="-4.865354195869965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0"/>
                  <c:y val="-4.3788187762829667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0"/>
                  <c:y val="-4.8653541958699658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8.706916156808932E-17"/>
                  <c:y val="-2.919212517521979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0"/>
                  <c:y val="-1.946141678347988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800" b="1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D$20:$D$24</c:f>
              <c:strCache>
                <c:ptCount val="5"/>
                <c:pt idx="0">
                  <c:v>Россия</c:v>
                </c:pt>
                <c:pt idx="1">
                  <c:v>45 агломераций </c:v>
                </c:pt>
                <c:pt idx="2">
                  <c:v>Группа А</c:v>
                </c:pt>
                <c:pt idx="3">
                  <c:v>Группа В</c:v>
                </c:pt>
                <c:pt idx="4">
                  <c:v>Группа С</c:v>
                </c:pt>
              </c:strCache>
            </c:strRef>
          </c:cat>
          <c:val>
            <c:numRef>
              <c:f>Лист1!$E$20:$E$24</c:f>
              <c:numCache>
                <c:formatCode>0.00%</c:formatCode>
                <c:ptCount val="5"/>
                <c:pt idx="0">
                  <c:v>1.12E-2</c:v>
                </c:pt>
                <c:pt idx="1">
                  <c:v>2.3E-2</c:v>
                </c:pt>
                <c:pt idx="2">
                  <c:v>4.2999999999999997E-2</c:v>
                </c:pt>
                <c:pt idx="3">
                  <c:v>3.9899999999999998E-2</c:v>
                </c:pt>
                <c:pt idx="4">
                  <c:v>1.9900000000000001E-2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28483072"/>
        <c:axId val="228487552"/>
      </c:barChart>
      <c:catAx>
        <c:axId val="228483072"/>
        <c:scaling>
          <c:orientation val="minMax"/>
        </c:scaling>
        <c:delete val="0"/>
        <c:axPos val="b"/>
        <c:majorTickMark val="out"/>
        <c:minorTickMark val="none"/>
        <c:tickLblPos val="nextTo"/>
        <c:crossAx val="228487552"/>
        <c:crosses val="autoZero"/>
        <c:auto val="1"/>
        <c:lblAlgn val="ctr"/>
        <c:lblOffset val="100"/>
        <c:noMultiLvlLbl val="0"/>
      </c:catAx>
      <c:valAx>
        <c:axId val="228487552"/>
        <c:scaling>
          <c:orientation val="minMax"/>
        </c:scaling>
        <c:delete val="1"/>
        <c:axPos val="l"/>
        <c:numFmt formatCode="0.00%" sourceLinked="1"/>
        <c:majorTickMark val="out"/>
        <c:minorTickMark val="none"/>
        <c:tickLblPos val="nextTo"/>
        <c:crossAx val="22848307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400">
          <a:latin typeface="Segoe MDL2 Assets" panose="050A0102010101010101" pitchFamily="18" charset="0"/>
        </a:defRPr>
      </a:pPr>
      <a:endParaRPr lang="ru-RU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txPr>
        <a:bodyPr/>
        <a:lstStyle/>
        <a:p>
          <a:pPr>
            <a:defRPr sz="1400"/>
          </a:pPr>
          <a:endParaRPr lang="ru-RU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[Графики Полиди 26.12.17.xlsx]Обеспеченность'!$B$73</c:f>
              <c:strCache>
                <c:ptCount val="1"/>
                <c:pt idx="0">
                  <c:v>Обеспеченность жильем,  кв. м на душу населения, 2016 г.</c:v>
                </c:pt>
              </c:strCache>
            </c:strRef>
          </c:tx>
          <c:spPr>
            <a:solidFill>
              <a:srgbClr val="00FFFF"/>
            </a:solidFill>
          </c:spPr>
          <c:invertIfNegative val="0"/>
          <c:dPt>
            <c:idx val="8"/>
            <c:invertIfNegative val="0"/>
            <c:bubble3D val="0"/>
            <c:spPr>
              <a:solidFill>
                <a:srgbClr val="FF0000"/>
              </a:solidFill>
            </c:spPr>
          </c:dPt>
          <c:dLbls>
            <c:dLbl>
              <c:idx val="15"/>
              <c:layout/>
              <c:tx>
                <c:rich>
                  <a:bodyPr/>
                  <a:lstStyle/>
                  <a:p>
                    <a:r>
                      <a:rPr lang="en-US" sz="2000" dirty="0">
                        <a:solidFill>
                          <a:srgbClr val="FFFF00"/>
                        </a:solidFill>
                      </a:rPr>
                      <a:t>27,1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[Графики Полиди 26.12.17.xlsx]Обеспеченность'!$A$74:$A$91</c:f>
              <c:strCache>
                <c:ptCount val="18"/>
                <c:pt idx="0">
                  <c:v>Владивостокская </c:v>
                </c:pt>
                <c:pt idx="1">
                  <c:v>Волгоградская </c:v>
                </c:pt>
                <c:pt idx="2">
                  <c:v>Московская</c:v>
                </c:pt>
                <c:pt idx="3">
                  <c:v>Пермская </c:v>
                </c:pt>
                <c:pt idx="4">
                  <c:v>Санкт-Петербургская</c:v>
                </c:pt>
                <c:pt idx="5">
                  <c:v>Новосибирская </c:v>
                </c:pt>
                <c:pt idx="6">
                  <c:v>Красноярская </c:v>
                </c:pt>
                <c:pt idx="7">
                  <c:v>Ростовская </c:v>
                </c:pt>
                <c:pt idx="8">
                  <c:v>Россия</c:v>
                </c:pt>
                <c:pt idx="9">
                  <c:v>Уфимская </c:v>
                </c:pt>
                <c:pt idx="10">
                  <c:v>Нижегородская </c:v>
                </c:pt>
                <c:pt idx="11">
                  <c:v>Челябинская </c:v>
                </c:pt>
                <c:pt idx="12">
                  <c:v>Самарско-Тольяттинская </c:v>
                </c:pt>
                <c:pt idx="13">
                  <c:v>Екатеринбургская </c:v>
                </c:pt>
                <c:pt idx="14">
                  <c:v>Казанская </c:v>
                </c:pt>
                <c:pt idx="15">
                  <c:v>Краснодарская </c:v>
                </c:pt>
                <c:pt idx="16">
                  <c:v>Саратовская </c:v>
                </c:pt>
                <c:pt idx="17">
                  <c:v>Воронежская </c:v>
                </c:pt>
              </c:strCache>
            </c:strRef>
          </c:cat>
          <c:val>
            <c:numRef>
              <c:f>'[Графики Полиди 26.12.17.xlsx]Обеспеченность'!$B$74:$B$91</c:f>
              <c:numCache>
                <c:formatCode>0.0</c:formatCode>
                <c:ptCount val="18"/>
                <c:pt idx="0">
                  <c:v>21.48726152410385</c:v>
                </c:pt>
                <c:pt idx="1">
                  <c:v>22.61230363761387</c:v>
                </c:pt>
                <c:pt idx="2">
                  <c:v>22.7</c:v>
                </c:pt>
                <c:pt idx="3">
                  <c:v>23.501721971286649</c:v>
                </c:pt>
                <c:pt idx="4">
                  <c:v>24.300293477231847</c:v>
                </c:pt>
                <c:pt idx="5">
                  <c:v>24.50020618427175</c:v>
                </c:pt>
                <c:pt idx="6">
                  <c:v>24.605209389390026</c:v>
                </c:pt>
                <c:pt idx="7">
                  <c:v>24.838359793438407</c:v>
                </c:pt>
                <c:pt idx="8">
                  <c:v>24.9</c:v>
                </c:pt>
                <c:pt idx="9">
                  <c:v>24.996860375733672</c:v>
                </c:pt>
                <c:pt idx="10">
                  <c:v>25.228464972218124</c:v>
                </c:pt>
                <c:pt idx="11">
                  <c:v>25.623791894328516</c:v>
                </c:pt>
                <c:pt idx="12">
                  <c:v>25.65056210143393</c:v>
                </c:pt>
                <c:pt idx="13">
                  <c:v>25.664913503234821</c:v>
                </c:pt>
                <c:pt idx="14">
                  <c:v>26.119765988431375</c:v>
                </c:pt>
                <c:pt idx="15">
                  <c:v>27.147855725964003</c:v>
                </c:pt>
                <c:pt idx="16">
                  <c:v>28.228003064172974</c:v>
                </c:pt>
                <c:pt idx="17">
                  <c:v>28.843015995176568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33133184"/>
        <c:axId val="233582976"/>
      </c:barChart>
      <c:catAx>
        <c:axId val="233133184"/>
        <c:scaling>
          <c:orientation val="minMax"/>
        </c:scaling>
        <c:delete val="0"/>
        <c:axPos val="l"/>
        <c:majorTickMark val="out"/>
        <c:minorTickMark val="none"/>
        <c:tickLblPos val="nextTo"/>
        <c:crossAx val="233582976"/>
        <c:crosses val="autoZero"/>
        <c:auto val="1"/>
        <c:lblAlgn val="ctr"/>
        <c:lblOffset val="100"/>
        <c:noMultiLvlLbl val="0"/>
      </c:catAx>
      <c:valAx>
        <c:axId val="233582976"/>
        <c:scaling>
          <c:orientation val="minMax"/>
        </c:scaling>
        <c:delete val="0"/>
        <c:axPos val="b"/>
        <c:numFmt formatCode="0" sourceLinked="0"/>
        <c:majorTickMark val="out"/>
        <c:minorTickMark val="none"/>
        <c:tickLblPos val="nextTo"/>
        <c:crossAx val="23313318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400">
          <a:solidFill>
            <a:schemeClr val="bg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757</cdr:x>
      <cdr:y>0</cdr:y>
    </cdr:from>
    <cdr:to>
      <cdr:x>0.78138</cdr:x>
      <cdr:y>0.94468</cdr:y>
    </cdr:to>
    <cdr:cxnSp macro="">
      <cdr:nvCxnSpPr>
        <cdr:cNvPr id="3" name="Прямая соединительная линия 2"/>
        <cdr:cNvCxnSpPr/>
      </cdr:nvCxnSpPr>
      <cdr:spPr>
        <a:xfrm xmlns:a="http://schemas.openxmlformats.org/drawingml/2006/main" flipH="1" flipV="1">
          <a:off x="3267703" y="0"/>
          <a:ext cx="23928" cy="6273209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rgbClr val="EE2B2F"/>
          </a:solidFill>
        </a:ln>
      </cdr:spPr>
      <cdr:style>
        <a:lnRef xmlns:a="http://schemas.openxmlformats.org/drawingml/2006/main" idx="3">
          <a:schemeClr val="accent2"/>
        </a:lnRef>
        <a:fillRef xmlns:a="http://schemas.openxmlformats.org/drawingml/2006/main" idx="0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tx1"/>
        </a:fontRef>
      </cdr:style>
    </cdr:cxn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ABEA7C-3BF1-466A-842E-B93E12AEE6BA}" type="datetimeFigureOut">
              <a:rPr lang="ru-RU" smtClean="0"/>
              <a:t>18.07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0D839E-1E6E-45CD-B179-6EEE596922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802166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65225" y="1241425"/>
            <a:ext cx="44672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F9A574-1F1B-5241-ADDA-328E27E077E1}" type="slidenum">
              <a:rPr lang="ru-RU" smtClean="0">
                <a:solidFill>
                  <a:prstClr val="black"/>
                </a:solidFill>
              </a:rPr>
              <a:pPr/>
              <a:t>11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22051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0D839E-1E6E-45CD-B179-6EEE59692274}" type="slidenum">
              <a:rPr lang="ru-RU" smtClean="0">
                <a:solidFill>
                  <a:prstClr val="black"/>
                </a:solidFill>
              </a:rPr>
              <a:pPr/>
              <a:t>46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42030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0D839E-1E6E-45CD-B179-6EEE59692274}" type="slidenum">
              <a:rPr lang="ru-RU" smtClean="0"/>
              <a:t>4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455653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jp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3.jp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3.jp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6.jpg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5.jpe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3.jp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4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image" Target="../media/image3.jp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0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0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0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0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48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B596AB-2143-4F19-925F-57537FE68442}" type="datetime1">
              <a:rPr lang="ru-RU" smtClean="0"/>
              <a:t>18.07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788089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D8B82F-B3C6-4D42-A620-85BF362CE0A1}" type="datetime1">
              <a:rPr lang="ru-RU" smtClean="0"/>
              <a:t>18.07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025340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63EB45-285F-4A56-AC93-0FB437AB998F}" type="datetime1">
              <a:rPr lang="ru-RU" smtClean="0"/>
              <a:t>18.07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066069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blipFill dpi="0" rotWithShape="1">
          <a:blip r:embed="rId4">
            <a:lum/>
          </a:blip>
          <a:srcRect/>
          <a:stretch>
            <a:fillRect l="-12000" r="-1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773125"/>
              </p:ext>
            </p:extLst>
          </p:nvPr>
        </p:nvGraphicFramePr>
        <p:xfrm>
          <a:off x="0" y="32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32"/>
                        <a:ext cx="158750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98465" y="2519999"/>
            <a:ext cx="4984615" cy="1080000"/>
          </a:xfrm>
          <a:prstGeom prst="rect">
            <a:avLst/>
          </a:prstGeom>
        </p:spPr>
        <p:txBody>
          <a:bodyPr/>
          <a:lstStyle>
            <a:lvl1pPr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98465" y="4068000"/>
            <a:ext cx="4984615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buNone/>
              <a:defRPr sz="1400">
                <a:solidFill>
                  <a:schemeClr val="tx2"/>
                </a:solidFill>
              </a:defRPr>
            </a:lvl1pPr>
            <a:lvl2pPr marL="456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4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46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08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6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3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9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Содержание презентации</a:t>
            </a:r>
            <a:endParaRPr lang="ru-RU" dirty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498462" y="6300003"/>
            <a:ext cx="1800000" cy="2159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Метка</a:t>
            </a:r>
            <a:endParaRPr lang="ru-RU" dirty="0"/>
          </a:p>
        </p:txBody>
      </p:sp>
      <p:sp>
        <p:nvSpPr>
          <p:cNvPr id="8" name="Дата 3"/>
          <p:cNvSpPr>
            <a:spLocks noGrp="1"/>
          </p:cNvSpPr>
          <p:nvPr>
            <p:ph type="dt" sz="half" idx="10"/>
          </p:nvPr>
        </p:nvSpPr>
        <p:spPr>
          <a:xfrm>
            <a:off x="498462" y="4680000"/>
            <a:ext cx="1993846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1400">
                <a:solidFill>
                  <a:schemeClr val="tx2"/>
                </a:solidFill>
              </a:defRPr>
            </a:lvl1pPr>
          </a:lstStyle>
          <a:p>
            <a:pPr defTabSz="912324"/>
            <a:r>
              <a:rPr lang="ru-RU" smtClean="0">
                <a:solidFill>
                  <a:srgbClr val="0080C7"/>
                </a:solidFill>
              </a:rPr>
              <a:t>Докладчик</a:t>
            </a:r>
            <a:endParaRPr lang="ru-RU" dirty="0">
              <a:solidFill>
                <a:srgbClr val="0080C7"/>
              </a:solidFill>
            </a:endParaRPr>
          </a:p>
        </p:txBody>
      </p:sp>
      <p:pic>
        <p:nvPicPr>
          <p:cNvPr id="9" name="Изображение 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493" y="348172"/>
            <a:ext cx="1102027" cy="1715127"/>
          </a:xfrm>
          <a:prstGeom prst="rect">
            <a:avLst/>
          </a:prstGeom>
        </p:spPr>
      </p:pic>
      <p:sp>
        <p:nvSpPr>
          <p:cNvPr id="11" name="Дата 3"/>
          <p:cNvSpPr txBox="1">
            <a:spLocks/>
          </p:cNvSpPr>
          <p:nvPr userDrawn="1"/>
        </p:nvSpPr>
        <p:spPr>
          <a:xfrm>
            <a:off x="3508497" y="4680000"/>
            <a:ext cx="1993846" cy="216000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ru-RU"/>
            </a:defPPr>
            <a:lvl1pPr marL="0" algn="r" defTabSz="914296" rtl="0" eaLnBrk="1" latinLnBrk="0" hangingPunct="1"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148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96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45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92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40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88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36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84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2F1BEEF-A4A7-479D-8465-9115149B4495}" type="datetime4">
              <a:rPr lang="ru-RU" smtClean="0">
                <a:solidFill>
                  <a:srgbClr val="0080C7"/>
                </a:solidFill>
              </a:rPr>
              <a:pPr/>
              <a:t>18 июля 2019 г.</a:t>
            </a:fld>
            <a:endParaRPr lang="ru-RU" dirty="0">
              <a:solidFill>
                <a:srgbClr val="0080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4346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2450461"/>
              </p:ext>
            </p:extLst>
          </p:nvPr>
        </p:nvGraphicFramePr>
        <p:xfrm>
          <a:off x="1618" y="2119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18" y="2119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215902"/>
            <a:ext cx="8642350" cy="215900"/>
          </a:xfrm>
          <a:prstGeom prst="rect">
            <a:avLst/>
          </a:prstGeom>
        </p:spPr>
        <p:txBody>
          <a:bodyPr lIns="0" tIns="0" rIns="0" bIns="17959" anchor="b" anchorCtr="0"/>
          <a:lstStyle>
            <a:lvl1pPr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6337300"/>
            <a:ext cx="864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252000" y="6688551"/>
            <a:ext cx="36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2324"/>
            <a:r>
              <a:rPr lang="en-US" sz="800" dirty="0" smtClean="0">
                <a:solidFill>
                  <a:srgbClr val="FFFFFF"/>
                </a:solidFill>
              </a:rPr>
              <a:t>© </a:t>
            </a:r>
            <a:r>
              <a:rPr lang="ru-RU" sz="800" dirty="0" smtClean="0">
                <a:solidFill>
                  <a:srgbClr val="FFFFFF"/>
                </a:solidFill>
              </a:rPr>
              <a:t>Центр стратегических разработок</a:t>
            </a:r>
            <a:endParaRPr lang="ru-RU" sz="800" dirty="0" smtClean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21816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9655584"/>
              </p:ext>
            </p:extLst>
          </p:nvPr>
        </p:nvGraphicFramePr>
        <p:xfrm>
          <a:off x="1618" y="2141"/>
          <a:ext cx="1587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18" y="2141"/>
                        <a:ext cx="1587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184720"/>
          </a:xfrm>
          <a:prstGeom prst="rect">
            <a:avLst/>
          </a:prstGeom>
        </p:spPr>
      </p:pic>
      <p:sp>
        <p:nvSpPr>
          <p:cNvPr id="9" name="Прямоугольник 8"/>
          <p:cNvSpPr/>
          <p:nvPr userDrawn="1"/>
        </p:nvSpPr>
        <p:spPr>
          <a:xfrm>
            <a:off x="0" y="4857197"/>
            <a:ext cx="9144000" cy="2312435"/>
          </a:xfrm>
          <a:prstGeom prst="rect">
            <a:avLst/>
          </a:prstGeom>
          <a:solidFill>
            <a:schemeClr val="tx1">
              <a:lumMod val="50000"/>
              <a:lumOff val="50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016" tIns="53502" rIns="107016" bIns="53502" rtlCol="0" anchor="ctr"/>
          <a:lstStyle/>
          <a:p>
            <a:pPr algn="ctr" defTabSz="912428"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3314" name="Title Placeholder 1"/>
          <p:cNvSpPr>
            <a:spLocks noGrp="1"/>
          </p:cNvSpPr>
          <p:nvPr>
            <p:ph type="ctrTitle"/>
          </p:nvPr>
        </p:nvSpPr>
        <p:spPr>
          <a:xfrm>
            <a:off x="381000" y="5134540"/>
            <a:ext cx="6400800" cy="934701"/>
          </a:xfrm>
        </p:spPr>
        <p:txBody>
          <a:bodyPr/>
          <a:lstStyle>
            <a:lvl1pPr>
              <a:defRPr sz="470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244790"/>
            <a:ext cx="2133600" cy="475809"/>
          </a:xfrm>
          <a:prstGeom prst="rect">
            <a:avLst/>
          </a:prstGeom>
        </p:spPr>
        <p:txBody>
          <a:bodyPr lIns="91241" tIns="45618" rIns="91241" bIns="45618"/>
          <a:lstStyle>
            <a:lvl1pPr algn="l" fontAlgn="auto">
              <a:spcBef>
                <a:spcPts val="0"/>
              </a:spcBef>
              <a:spcAft>
                <a:spcPts val="0"/>
              </a:spcAft>
              <a:defRPr sz="14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defTabSz="912324">
              <a:defRPr/>
            </a:pPr>
            <a:fld id="{81620278-44FA-4F16-8CEF-C5A5699EEFE3}" type="datetimeFigureOut"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pPr defTabSz="912324">
                <a:defRPr/>
              </a:pPr>
              <a:t>7/18/2019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244790"/>
            <a:ext cx="2895600" cy="475809"/>
          </a:xfrm>
          <a:prstGeom prst="rect">
            <a:avLst/>
          </a:prstGeom>
        </p:spPr>
        <p:txBody>
          <a:bodyPr lIns="91241" tIns="45618" rIns="91241" bIns="45618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defTabSz="912324">
              <a:defRPr/>
            </a:pPr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244790"/>
            <a:ext cx="2133600" cy="475809"/>
          </a:xfrm>
          <a:prstGeom prst="rect">
            <a:avLst/>
          </a:prstGeom>
        </p:spPr>
        <p:txBody>
          <a:bodyPr lIns="91241" tIns="45618" rIns="91241" bIns="45618"/>
          <a:lstStyle>
            <a:lvl1pPr algn="r" fontAlgn="auto">
              <a:spcBef>
                <a:spcPts val="0"/>
              </a:spcBef>
              <a:spcAft>
                <a:spcPts val="0"/>
              </a:spcAft>
              <a:defRPr sz="14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defTabSz="912324">
              <a:defRPr/>
            </a:pPr>
            <a:fld id="{EB662D89-F514-4A6A-A2EB-6C2A43D69FDC}" type="slidenum"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pPr defTabSz="912324">
                <a:defRPr/>
              </a:pPr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251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244080"/>
              </p:ext>
            </p:extLst>
          </p:nvPr>
        </p:nvGraphicFramePr>
        <p:xfrm>
          <a:off x="1618" y="2141"/>
          <a:ext cx="1587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18" y="2141"/>
                        <a:ext cx="1587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215902"/>
            <a:ext cx="8642350" cy="215900"/>
          </a:xfrm>
          <a:prstGeom prst="rect">
            <a:avLst/>
          </a:prstGeom>
        </p:spPr>
        <p:txBody>
          <a:bodyPr lIns="0" tIns="0" rIns="0" bIns="21068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250825" y="6337300"/>
            <a:ext cx="864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264"/>
              </a:spcBef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409154350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blipFill dpi="0" rotWithShape="1">
          <a:blip r:embed="rId4">
            <a:lum/>
          </a:blip>
          <a:srcRect/>
          <a:stretch>
            <a:fillRect l="-12000" r="-1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4503799"/>
              </p:ext>
            </p:extLst>
          </p:nvPr>
        </p:nvGraphicFramePr>
        <p:xfrm>
          <a:off x="0" y="15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2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5"/>
                        <a:ext cx="158750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98465" y="2519999"/>
            <a:ext cx="4984615" cy="1080000"/>
          </a:xfrm>
          <a:prstGeom prst="rect">
            <a:avLst/>
          </a:prstGeom>
        </p:spPr>
        <p:txBody>
          <a:bodyPr/>
          <a:lstStyle>
            <a:lvl1pPr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98465" y="4068000"/>
            <a:ext cx="4984615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buNone/>
              <a:defRPr sz="1400">
                <a:solidFill>
                  <a:schemeClr val="tx2"/>
                </a:solidFill>
              </a:defRPr>
            </a:lvl1pPr>
            <a:lvl2pPr marL="4569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8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7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5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Содержание презентации</a:t>
            </a:r>
            <a:endParaRPr lang="ru-RU" dirty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498462" y="6300003"/>
            <a:ext cx="1800000" cy="2159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Метка</a:t>
            </a:r>
            <a:endParaRPr lang="ru-RU" dirty="0"/>
          </a:p>
        </p:txBody>
      </p:sp>
      <p:sp>
        <p:nvSpPr>
          <p:cNvPr id="8" name="Дата 3"/>
          <p:cNvSpPr>
            <a:spLocks noGrp="1"/>
          </p:cNvSpPr>
          <p:nvPr>
            <p:ph type="dt" sz="half" idx="10"/>
          </p:nvPr>
        </p:nvSpPr>
        <p:spPr>
          <a:xfrm>
            <a:off x="498462" y="4680000"/>
            <a:ext cx="1993846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1400">
                <a:solidFill>
                  <a:schemeClr val="tx2"/>
                </a:solidFill>
              </a:defRPr>
            </a:lvl1pPr>
          </a:lstStyle>
          <a:p>
            <a:pPr defTabSz="913880"/>
            <a:r>
              <a:rPr lang="ru-RU" smtClean="0">
                <a:solidFill>
                  <a:srgbClr val="0080C7"/>
                </a:solidFill>
              </a:rPr>
              <a:t>Докладчик</a:t>
            </a:r>
            <a:endParaRPr lang="ru-RU" dirty="0">
              <a:solidFill>
                <a:srgbClr val="0080C7"/>
              </a:solidFill>
            </a:endParaRPr>
          </a:p>
        </p:txBody>
      </p:sp>
      <p:pic>
        <p:nvPicPr>
          <p:cNvPr id="9" name="Изображение 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475" y="348172"/>
            <a:ext cx="1102027" cy="1715127"/>
          </a:xfrm>
          <a:prstGeom prst="rect">
            <a:avLst/>
          </a:prstGeom>
        </p:spPr>
      </p:pic>
      <p:sp>
        <p:nvSpPr>
          <p:cNvPr id="11" name="Дата 3"/>
          <p:cNvSpPr txBox="1">
            <a:spLocks/>
          </p:cNvSpPr>
          <p:nvPr userDrawn="1"/>
        </p:nvSpPr>
        <p:spPr>
          <a:xfrm>
            <a:off x="3508497" y="4680000"/>
            <a:ext cx="1993846" cy="216000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ru-RU"/>
            </a:defPPr>
            <a:lvl1pPr marL="0" algn="r" defTabSz="914296" rtl="0" eaLnBrk="1" latinLnBrk="0" hangingPunct="1"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148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96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45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92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40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88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36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84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2F1BEEF-A4A7-479D-8465-9115149B4495}" type="datetime4">
              <a:rPr lang="ru-RU" smtClean="0">
                <a:solidFill>
                  <a:srgbClr val="0080C7"/>
                </a:solidFill>
              </a:rPr>
              <a:pPr/>
              <a:t>18 июля 2019 г.</a:t>
            </a:fld>
            <a:endParaRPr lang="ru-RU" dirty="0">
              <a:solidFill>
                <a:srgbClr val="0080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68601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6429723"/>
              </p:ext>
            </p:extLst>
          </p:nvPr>
        </p:nvGraphicFramePr>
        <p:xfrm>
          <a:off x="1603" y="2119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03" y="2119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215902"/>
            <a:ext cx="8642350" cy="215900"/>
          </a:xfrm>
          <a:prstGeom prst="rect">
            <a:avLst/>
          </a:prstGeom>
        </p:spPr>
        <p:txBody>
          <a:bodyPr lIns="0" tIns="0" rIns="0" bIns="17989" anchor="b" anchorCtr="0"/>
          <a:lstStyle>
            <a:lvl1pPr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6337300"/>
            <a:ext cx="864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252000" y="6688529"/>
            <a:ext cx="36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3880"/>
            <a:r>
              <a:rPr lang="en-US" sz="800" dirty="0" smtClean="0">
                <a:solidFill>
                  <a:srgbClr val="FFFFFF"/>
                </a:solidFill>
              </a:rPr>
              <a:t>© </a:t>
            </a:r>
            <a:r>
              <a:rPr lang="ru-RU" sz="800" dirty="0" smtClean="0">
                <a:solidFill>
                  <a:srgbClr val="FFFFFF"/>
                </a:solidFill>
              </a:rPr>
              <a:t>Центр стратегических разработок</a:t>
            </a:r>
            <a:endParaRPr lang="ru-RU" sz="800" dirty="0" smtClean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28567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blipFill dpi="0" rotWithShape="1">
          <a:blip r:embed="rId4">
            <a:lum/>
          </a:blip>
          <a:srcRect/>
          <a:stretch>
            <a:fillRect l="-12000" r="-1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9766152"/>
              </p:ext>
            </p:extLst>
          </p:nvPr>
        </p:nvGraphicFramePr>
        <p:xfrm>
          <a:off x="0" y="32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9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32"/>
                        <a:ext cx="158750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98465" y="2519999"/>
            <a:ext cx="4984615" cy="1080000"/>
          </a:xfrm>
          <a:prstGeom prst="rect">
            <a:avLst/>
          </a:prstGeom>
        </p:spPr>
        <p:txBody>
          <a:bodyPr/>
          <a:lstStyle>
            <a:lvl1pPr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98465" y="4068000"/>
            <a:ext cx="4984615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buNone/>
              <a:defRPr sz="1400">
                <a:solidFill>
                  <a:schemeClr val="tx2"/>
                </a:solidFill>
              </a:defRPr>
            </a:lvl1pPr>
            <a:lvl2pPr marL="456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4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46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08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6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3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9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Содержание презентации</a:t>
            </a:r>
            <a:endParaRPr lang="ru-RU" dirty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498462" y="6300003"/>
            <a:ext cx="1800000" cy="2159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Метка</a:t>
            </a:r>
            <a:endParaRPr lang="ru-RU" dirty="0"/>
          </a:p>
        </p:txBody>
      </p:sp>
      <p:sp>
        <p:nvSpPr>
          <p:cNvPr id="8" name="Дата 3"/>
          <p:cNvSpPr>
            <a:spLocks noGrp="1"/>
          </p:cNvSpPr>
          <p:nvPr>
            <p:ph type="dt" sz="half" idx="10"/>
          </p:nvPr>
        </p:nvSpPr>
        <p:spPr>
          <a:xfrm>
            <a:off x="498462" y="4680000"/>
            <a:ext cx="1993846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1400">
                <a:solidFill>
                  <a:schemeClr val="tx2"/>
                </a:solidFill>
              </a:defRPr>
            </a:lvl1pPr>
          </a:lstStyle>
          <a:p>
            <a:pPr defTabSz="912324"/>
            <a:r>
              <a:rPr lang="ru-RU" smtClean="0">
                <a:solidFill>
                  <a:srgbClr val="0080C7"/>
                </a:solidFill>
              </a:rPr>
              <a:t>Докладчик</a:t>
            </a:r>
            <a:endParaRPr lang="ru-RU" dirty="0">
              <a:solidFill>
                <a:srgbClr val="0080C7"/>
              </a:solidFill>
            </a:endParaRPr>
          </a:p>
        </p:txBody>
      </p:sp>
      <p:pic>
        <p:nvPicPr>
          <p:cNvPr id="9" name="Изображение 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488" y="348172"/>
            <a:ext cx="1102027" cy="1715127"/>
          </a:xfrm>
          <a:prstGeom prst="rect">
            <a:avLst/>
          </a:prstGeom>
        </p:spPr>
      </p:pic>
      <p:sp>
        <p:nvSpPr>
          <p:cNvPr id="11" name="Дата 3"/>
          <p:cNvSpPr txBox="1">
            <a:spLocks/>
          </p:cNvSpPr>
          <p:nvPr userDrawn="1"/>
        </p:nvSpPr>
        <p:spPr>
          <a:xfrm>
            <a:off x="3508497" y="4680000"/>
            <a:ext cx="1993846" cy="216000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ru-RU"/>
            </a:defPPr>
            <a:lvl1pPr marL="0" algn="r" defTabSz="914296" rtl="0" eaLnBrk="1" latinLnBrk="0" hangingPunct="1"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148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96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45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92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40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88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36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84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2F1BEEF-A4A7-479D-8465-9115149B4495}" type="datetime4">
              <a:rPr lang="ru-RU" smtClean="0">
                <a:solidFill>
                  <a:srgbClr val="0080C7"/>
                </a:solidFill>
              </a:rPr>
              <a:pPr/>
              <a:t>18 июля 2019 г.</a:t>
            </a:fld>
            <a:endParaRPr lang="ru-RU" dirty="0">
              <a:solidFill>
                <a:srgbClr val="0080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36516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1979204"/>
              </p:ext>
            </p:extLst>
          </p:nvPr>
        </p:nvGraphicFramePr>
        <p:xfrm>
          <a:off x="1614" y="2119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14" y="2119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215902"/>
            <a:ext cx="8642350" cy="215900"/>
          </a:xfrm>
          <a:prstGeom prst="rect">
            <a:avLst/>
          </a:prstGeom>
        </p:spPr>
        <p:txBody>
          <a:bodyPr lIns="0" tIns="0" rIns="0" bIns="17959" anchor="b" anchorCtr="0"/>
          <a:lstStyle>
            <a:lvl1pPr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6337300"/>
            <a:ext cx="864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252000" y="6688543"/>
            <a:ext cx="36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2324"/>
            <a:r>
              <a:rPr lang="en-US" sz="800" dirty="0" smtClean="0">
                <a:solidFill>
                  <a:srgbClr val="FFFFFF"/>
                </a:solidFill>
              </a:rPr>
              <a:t>© </a:t>
            </a:r>
            <a:r>
              <a:rPr lang="ru-RU" sz="800" dirty="0" smtClean="0">
                <a:solidFill>
                  <a:srgbClr val="FFFFFF"/>
                </a:solidFill>
              </a:rPr>
              <a:t>Центр стратегических разработок</a:t>
            </a:r>
            <a:endParaRPr lang="ru-RU" sz="800" dirty="0" smtClean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19156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636A77-6759-4125-9A8A-1ACAC804D3C4}" type="datetime1">
              <a:rPr lang="ru-RU" smtClean="0"/>
              <a:t>18.07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389877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1080315"/>
              </p:ext>
            </p:extLst>
          </p:nvPr>
        </p:nvGraphicFramePr>
        <p:xfrm>
          <a:off x="1614" y="2133"/>
          <a:ext cx="1587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4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14" y="2133"/>
                        <a:ext cx="1587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184720"/>
          </a:xfrm>
          <a:prstGeom prst="rect">
            <a:avLst/>
          </a:prstGeom>
        </p:spPr>
      </p:pic>
      <p:sp>
        <p:nvSpPr>
          <p:cNvPr id="9" name="Прямоугольник 8"/>
          <p:cNvSpPr/>
          <p:nvPr userDrawn="1"/>
        </p:nvSpPr>
        <p:spPr>
          <a:xfrm>
            <a:off x="0" y="4857188"/>
            <a:ext cx="9144000" cy="2312435"/>
          </a:xfrm>
          <a:prstGeom prst="rect">
            <a:avLst/>
          </a:prstGeom>
          <a:solidFill>
            <a:schemeClr val="tx1">
              <a:lumMod val="50000"/>
              <a:lumOff val="50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016" tIns="53502" rIns="107016" bIns="53502" rtlCol="0" anchor="ctr"/>
          <a:lstStyle/>
          <a:p>
            <a:pPr algn="ctr" defTabSz="912428"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3314" name="Title Placeholder 1"/>
          <p:cNvSpPr>
            <a:spLocks noGrp="1"/>
          </p:cNvSpPr>
          <p:nvPr>
            <p:ph type="ctrTitle"/>
          </p:nvPr>
        </p:nvSpPr>
        <p:spPr>
          <a:xfrm>
            <a:off x="381000" y="5134531"/>
            <a:ext cx="6400800" cy="934701"/>
          </a:xfrm>
        </p:spPr>
        <p:txBody>
          <a:bodyPr/>
          <a:lstStyle>
            <a:lvl1pPr>
              <a:defRPr sz="470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244782"/>
            <a:ext cx="2133600" cy="475809"/>
          </a:xfrm>
          <a:prstGeom prst="rect">
            <a:avLst/>
          </a:prstGeom>
        </p:spPr>
        <p:txBody>
          <a:bodyPr lIns="91241" tIns="45618" rIns="91241" bIns="45618"/>
          <a:lstStyle>
            <a:lvl1pPr algn="l" fontAlgn="auto">
              <a:spcBef>
                <a:spcPts val="0"/>
              </a:spcBef>
              <a:spcAft>
                <a:spcPts val="0"/>
              </a:spcAft>
              <a:defRPr sz="14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defTabSz="912324">
              <a:defRPr/>
            </a:pPr>
            <a:fld id="{81620278-44FA-4F16-8CEF-C5A5699EEFE3}" type="datetimeFigureOut"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pPr defTabSz="912324">
                <a:defRPr/>
              </a:pPr>
              <a:t>7/18/2019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244782"/>
            <a:ext cx="2895600" cy="475809"/>
          </a:xfrm>
          <a:prstGeom prst="rect">
            <a:avLst/>
          </a:prstGeom>
        </p:spPr>
        <p:txBody>
          <a:bodyPr lIns="91241" tIns="45618" rIns="91241" bIns="45618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defTabSz="912324">
              <a:defRPr/>
            </a:pPr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244782"/>
            <a:ext cx="2133600" cy="475809"/>
          </a:xfrm>
          <a:prstGeom prst="rect">
            <a:avLst/>
          </a:prstGeom>
        </p:spPr>
        <p:txBody>
          <a:bodyPr lIns="91241" tIns="45618" rIns="91241" bIns="45618"/>
          <a:lstStyle>
            <a:lvl1pPr algn="r" fontAlgn="auto">
              <a:spcBef>
                <a:spcPts val="0"/>
              </a:spcBef>
              <a:spcAft>
                <a:spcPts val="0"/>
              </a:spcAft>
              <a:defRPr sz="14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defTabSz="912324">
              <a:defRPr/>
            </a:pPr>
            <a:fld id="{EB662D89-F514-4A6A-A2EB-6C2A43D69FDC}" type="slidenum"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pPr defTabSz="912324">
                <a:defRPr/>
              </a:pPr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24834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5381691"/>
              </p:ext>
            </p:extLst>
          </p:nvPr>
        </p:nvGraphicFramePr>
        <p:xfrm>
          <a:off x="1614" y="2133"/>
          <a:ext cx="1587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14" y="2133"/>
                        <a:ext cx="1587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215902"/>
            <a:ext cx="8642350" cy="215900"/>
          </a:xfrm>
          <a:prstGeom prst="rect">
            <a:avLst/>
          </a:prstGeom>
        </p:spPr>
        <p:txBody>
          <a:bodyPr lIns="0" tIns="0" rIns="0" bIns="21068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250825" y="6337300"/>
            <a:ext cx="864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264"/>
              </a:spcBef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23278553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blipFill dpi="0" rotWithShape="1">
          <a:blip r:embed="rId4">
            <a:lum/>
          </a:blip>
          <a:srcRect/>
          <a:stretch>
            <a:fillRect l="-12000" r="-1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2360094"/>
              </p:ext>
            </p:extLst>
          </p:nvPr>
        </p:nvGraphicFramePr>
        <p:xfrm>
          <a:off x="0" y="9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1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9"/>
                        <a:ext cx="158750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98465" y="2519999"/>
            <a:ext cx="4984615" cy="1080000"/>
          </a:xfrm>
          <a:prstGeom prst="rect">
            <a:avLst/>
          </a:prstGeom>
        </p:spPr>
        <p:txBody>
          <a:bodyPr/>
          <a:lstStyle>
            <a:lvl1pPr>
              <a:defRPr sz="2400" b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98465" y="4068000"/>
            <a:ext cx="4984615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buNone/>
              <a:defRPr sz="1200">
                <a:solidFill>
                  <a:schemeClr val="tx2"/>
                </a:solidFill>
              </a:defRPr>
            </a:lvl1pPr>
            <a:lvl2pPr marL="3895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9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Содержание презентации</a:t>
            </a:r>
            <a:endParaRPr lang="ru-RU" dirty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498462" y="6300003"/>
            <a:ext cx="1800000" cy="2159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Метка</a:t>
            </a:r>
            <a:endParaRPr lang="ru-RU" dirty="0"/>
          </a:p>
        </p:txBody>
      </p:sp>
      <p:sp>
        <p:nvSpPr>
          <p:cNvPr id="8" name="Дата 3"/>
          <p:cNvSpPr>
            <a:spLocks noGrp="1"/>
          </p:cNvSpPr>
          <p:nvPr>
            <p:ph type="dt" sz="half" idx="10"/>
          </p:nvPr>
        </p:nvSpPr>
        <p:spPr>
          <a:xfrm>
            <a:off x="498462" y="4680000"/>
            <a:ext cx="1993846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pPr defTabSz="779163"/>
            <a:r>
              <a:rPr lang="ru-RU" dirty="0" smtClean="0">
                <a:solidFill>
                  <a:srgbClr val="0080C7"/>
                </a:solidFill>
              </a:rPr>
              <a:t>Докладчик</a:t>
            </a:r>
            <a:endParaRPr lang="ru-RU" dirty="0">
              <a:solidFill>
                <a:srgbClr val="0080C7"/>
              </a:solidFill>
            </a:endParaRPr>
          </a:p>
        </p:txBody>
      </p:sp>
      <p:pic>
        <p:nvPicPr>
          <p:cNvPr id="9" name="Изображение 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467" y="348172"/>
            <a:ext cx="1102027" cy="1715127"/>
          </a:xfrm>
          <a:prstGeom prst="rect">
            <a:avLst/>
          </a:prstGeom>
        </p:spPr>
      </p:pic>
      <p:sp>
        <p:nvSpPr>
          <p:cNvPr id="11" name="Дата 3"/>
          <p:cNvSpPr txBox="1">
            <a:spLocks/>
          </p:cNvSpPr>
          <p:nvPr userDrawn="1"/>
        </p:nvSpPr>
        <p:spPr>
          <a:xfrm>
            <a:off x="3508497" y="4680000"/>
            <a:ext cx="1993846" cy="216000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ru-RU"/>
            </a:defPPr>
            <a:lvl1pPr marL="0" algn="r" defTabSz="914296" rtl="0" eaLnBrk="1" latinLnBrk="0" hangingPunct="1"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148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96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45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92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40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88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36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84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2F1BEEF-A4A7-479D-8465-9115149B4495}" type="datetime4">
              <a:rPr lang="ru-RU" smtClean="0">
                <a:solidFill>
                  <a:srgbClr val="0080C7"/>
                </a:solidFill>
              </a:rPr>
              <a:pPr/>
              <a:t>18 июля 2019 г.</a:t>
            </a:fld>
            <a:endParaRPr lang="ru-RU" dirty="0">
              <a:solidFill>
                <a:srgbClr val="0080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52822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4749912"/>
              </p:ext>
            </p:extLst>
          </p:nvPr>
        </p:nvGraphicFramePr>
        <p:xfrm>
          <a:off x="1593" y="2119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2119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215902"/>
            <a:ext cx="8642350" cy="215900"/>
          </a:xfrm>
          <a:prstGeom prst="rect">
            <a:avLst/>
          </a:prstGeom>
        </p:spPr>
        <p:txBody>
          <a:bodyPr lIns="0" tIns="0" rIns="0" bIns="15338" anchor="b" anchorCtr="0"/>
          <a:lstStyle>
            <a:lvl1pPr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6337300"/>
            <a:ext cx="864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256"/>
              </a:spcBef>
              <a:defRPr sz="7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252000" y="6688513"/>
            <a:ext cx="36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779163"/>
            <a:r>
              <a:rPr lang="en-US" sz="700" dirty="0" smtClean="0">
                <a:solidFill>
                  <a:srgbClr val="FFFFFF"/>
                </a:solidFill>
              </a:rPr>
              <a:t>© </a:t>
            </a:r>
            <a:r>
              <a:rPr lang="ru-RU" sz="700" dirty="0" smtClean="0">
                <a:solidFill>
                  <a:srgbClr val="FFFFFF"/>
                </a:solidFill>
              </a:rPr>
              <a:t>Центр стратегических разработок</a:t>
            </a:r>
            <a:endParaRPr lang="ru-RU" sz="700" dirty="0" smtClean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415843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215902"/>
            <a:ext cx="8642350" cy="215900"/>
          </a:xfrm>
          <a:prstGeom prst="rect">
            <a:avLst/>
          </a:prstGeom>
        </p:spPr>
        <p:txBody>
          <a:bodyPr lIns="0" tIns="0" rIns="0" bIns="1534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250825" y="6337300"/>
            <a:ext cx="864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256"/>
              </a:spcBef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27497299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blipFill dpi="0" rotWithShape="1">
          <a:blip r:embed="rId4">
            <a:lum/>
          </a:blip>
          <a:srcRect/>
          <a:stretch>
            <a:fillRect l="-12000" r="-1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0680772"/>
              </p:ext>
            </p:extLst>
          </p:nvPr>
        </p:nvGraphicFramePr>
        <p:xfrm>
          <a:off x="0" y="3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3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3"/>
                        <a:ext cx="158750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98465" y="2519999"/>
            <a:ext cx="4984615" cy="1080000"/>
          </a:xfrm>
          <a:prstGeom prst="rect">
            <a:avLst/>
          </a:prstGeom>
        </p:spPr>
        <p:txBody>
          <a:bodyPr/>
          <a:lstStyle>
            <a:lvl1pPr>
              <a:defRPr sz="2400" b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98465" y="4068000"/>
            <a:ext cx="4984615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buNone/>
              <a:defRPr sz="1200">
                <a:solidFill>
                  <a:schemeClr val="tx2"/>
                </a:solidFill>
              </a:defRPr>
            </a:lvl1pPr>
            <a:lvl2pPr marL="3895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9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Содержание презентации</a:t>
            </a:r>
            <a:endParaRPr lang="ru-RU" dirty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498462" y="6300001"/>
            <a:ext cx="1800000" cy="2159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Метка</a:t>
            </a:r>
            <a:endParaRPr lang="ru-RU" dirty="0"/>
          </a:p>
        </p:txBody>
      </p:sp>
      <p:sp>
        <p:nvSpPr>
          <p:cNvPr id="8" name="Дата 3"/>
          <p:cNvSpPr>
            <a:spLocks noGrp="1"/>
          </p:cNvSpPr>
          <p:nvPr>
            <p:ph type="dt" sz="half" idx="10"/>
          </p:nvPr>
        </p:nvSpPr>
        <p:spPr>
          <a:xfrm>
            <a:off x="498462" y="4680000"/>
            <a:ext cx="1993846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pPr defTabSz="779163"/>
            <a:r>
              <a:rPr lang="ru-RU" dirty="0" smtClean="0">
                <a:solidFill>
                  <a:srgbClr val="0080C7"/>
                </a:solidFill>
              </a:rPr>
              <a:t>Докладчик</a:t>
            </a:r>
            <a:endParaRPr lang="ru-RU" dirty="0">
              <a:solidFill>
                <a:srgbClr val="0080C7"/>
              </a:solidFill>
            </a:endParaRPr>
          </a:p>
        </p:txBody>
      </p:sp>
      <p:pic>
        <p:nvPicPr>
          <p:cNvPr id="9" name="Изображение 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467" y="348172"/>
            <a:ext cx="1102027" cy="1715127"/>
          </a:xfrm>
          <a:prstGeom prst="rect">
            <a:avLst/>
          </a:prstGeom>
        </p:spPr>
      </p:pic>
      <p:sp>
        <p:nvSpPr>
          <p:cNvPr id="11" name="Дата 3"/>
          <p:cNvSpPr txBox="1">
            <a:spLocks/>
          </p:cNvSpPr>
          <p:nvPr userDrawn="1"/>
        </p:nvSpPr>
        <p:spPr>
          <a:xfrm>
            <a:off x="3508497" y="4680000"/>
            <a:ext cx="1993846" cy="216000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ru-RU"/>
            </a:defPPr>
            <a:lvl1pPr marL="0" algn="r" defTabSz="914296" rtl="0" eaLnBrk="1" latinLnBrk="0" hangingPunct="1"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148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96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45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92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40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88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36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84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2F1BEEF-A4A7-479D-8465-9115149B4495}" type="datetime4">
              <a:rPr lang="ru-RU" smtClean="0">
                <a:solidFill>
                  <a:srgbClr val="0080C7"/>
                </a:solidFill>
              </a:rPr>
              <a:pPr/>
              <a:t>18 июля 2019 г.</a:t>
            </a:fld>
            <a:endParaRPr lang="ru-RU" dirty="0">
              <a:solidFill>
                <a:srgbClr val="0080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37146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3988689"/>
              </p:ext>
            </p:extLst>
          </p:nvPr>
        </p:nvGraphicFramePr>
        <p:xfrm>
          <a:off x="1593" y="2119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2119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215902"/>
            <a:ext cx="8642350" cy="215900"/>
          </a:xfrm>
          <a:prstGeom prst="rect">
            <a:avLst/>
          </a:prstGeom>
        </p:spPr>
        <p:txBody>
          <a:bodyPr lIns="0" tIns="0" rIns="0" bIns="15338" anchor="b" anchorCtr="0"/>
          <a:lstStyle>
            <a:lvl1pPr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6337300"/>
            <a:ext cx="864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256"/>
              </a:spcBef>
              <a:defRPr sz="7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252000" y="6688506"/>
            <a:ext cx="36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779163"/>
            <a:r>
              <a:rPr lang="en-US" sz="700" dirty="0" smtClean="0">
                <a:solidFill>
                  <a:srgbClr val="FFFFFF"/>
                </a:solidFill>
              </a:rPr>
              <a:t>© </a:t>
            </a:r>
            <a:r>
              <a:rPr lang="ru-RU" sz="700" dirty="0" smtClean="0">
                <a:solidFill>
                  <a:srgbClr val="FFFFFF"/>
                </a:solidFill>
              </a:rPr>
              <a:t>Центр стратегических разработок</a:t>
            </a:r>
            <a:endParaRPr lang="ru-RU" sz="700" dirty="0" smtClean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007498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48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B596AB-2143-4F19-925F-57537FE6844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166377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636A77-6759-4125-9A8A-1ACAC804D3C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867475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7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20F662-1CA9-42AA-AA6F-C66385D0C0B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01948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7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20F662-1CA9-42AA-AA6F-C66385D0C0BB}" type="datetime1">
              <a:rPr lang="ru-RU" smtClean="0"/>
              <a:t>18.07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371526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D1DF98-7637-4D84-9ADE-2946C029AB0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034590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7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3" y="1535117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33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6FF4C9-601E-4496-891E-C0C819FA8F6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103787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6AD60A-F875-4477-911C-3399D13E87F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076405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335C8E-F24B-4C7E-87A6-F8E41FDBB0A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968642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6" y="273050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1" y="273058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6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EB3B5E-5234-4131-8DDA-4EFB1D37B9C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089132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9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51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EDB52-E467-49EB-9344-EEB0C81EAA3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887893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D8B82F-B3C6-4D42-A620-85BF362CE0A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582164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63EB45-285F-4A56-AC93-0FB437AB998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927595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3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5A857F-D9B2-4949-B794-B77E4FA71B1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A13D7-DA30-4126-B548-21EB459465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441756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5A857F-D9B2-4949-B794-B77E4FA71B1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A13D7-DA30-4126-B548-21EB459465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59607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D1DF98-7637-4D84-9ADE-2946C029AB08}" type="datetime1">
              <a:rPr lang="ru-RU" smtClean="0"/>
              <a:t>18.07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8017057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5A857F-D9B2-4949-B794-B77E4FA71B1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A13D7-DA30-4126-B548-21EB459465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02137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5A857F-D9B2-4949-B794-B77E4FA71B1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A13D7-DA30-4126-B548-21EB459465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496912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5A857F-D9B2-4949-B794-B77E4FA71B1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A13D7-DA30-4126-B548-21EB459465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538813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5A857F-D9B2-4949-B794-B77E4FA71B1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A13D7-DA30-4126-B548-21EB459465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657333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5A857F-D9B2-4949-B794-B77E4FA71B1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A13D7-DA30-4126-B548-21EB459465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615549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5A857F-D9B2-4949-B794-B77E4FA71B1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A13D7-DA30-4126-B548-21EB459465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928935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5A857F-D9B2-4949-B794-B77E4FA71B1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A13D7-DA30-4126-B548-21EB459465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655579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5A857F-D9B2-4949-B794-B77E4FA71B1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A13D7-DA30-4126-B548-21EB459465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609838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5A857F-D9B2-4949-B794-B77E4FA71B1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A13D7-DA30-4126-B548-21EB459465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145125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457200" y="274639"/>
            <a:ext cx="8229600" cy="58515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EA6ED1B-5016-41CC-8A63-46DD9EBEDE3F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90667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7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3" y="1535117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33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6FF4C9-601E-4496-891E-C0C819FA8F68}" type="datetime1">
              <a:rPr lang="ru-RU" smtClean="0"/>
              <a:t>18.07.2019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8814291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48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B596AB-2143-4F19-925F-57537FE6844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43826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636A77-6759-4125-9A8A-1ACAC804D3C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758843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7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20F662-1CA9-42AA-AA6F-C66385D0C0B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485842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D1DF98-7637-4D84-9ADE-2946C029AB0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406648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7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3" y="1535117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33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6FF4C9-601E-4496-891E-C0C819FA8F6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098354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6AD60A-F875-4477-911C-3399D13E87F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933205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335C8E-F24B-4C7E-87A6-F8E41FDBB0A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410147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6" y="273050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1" y="273058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6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EB3B5E-5234-4131-8DDA-4EFB1D37B9C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313041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9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51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EDB52-E467-49EB-9344-EEB0C81EAA3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631943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D8B82F-B3C6-4D42-A620-85BF362CE0A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71036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6AD60A-F875-4477-911C-3399D13E87F1}" type="datetime1">
              <a:rPr lang="ru-RU" smtClean="0"/>
              <a:t>18.07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785243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63EB45-285F-4A56-AC93-0FB437AB998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255561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28650" y="2025353"/>
            <a:ext cx="6858000" cy="1484610"/>
          </a:xfrm>
        </p:spPr>
        <p:txBody>
          <a:bodyPr anchor="b"/>
          <a:lstStyle>
            <a:lvl1pPr algn="l">
              <a:defRPr sz="4875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28650" y="3602038"/>
            <a:ext cx="6858000" cy="1655762"/>
          </a:xfrm>
        </p:spPr>
        <p:txBody>
          <a:bodyPr/>
          <a:lstStyle>
            <a:lvl1pPr marL="0" indent="0" algn="l">
              <a:buNone/>
              <a:defRPr sz="1950">
                <a:solidFill>
                  <a:schemeClr val="bg1"/>
                </a:solidFill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4807709-7E07-9B47-AAC8-A73BF6708013}" type="datetime1">
              <a:rPr lang="ru-RU" smtClean="0">
                <a:solidFill>
                  <a:prstClr val="white"/>
                </a:solidFill>
              </a:rPr>
              <a:pPr/>
              <a:t>18.07.2019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>
                <a:solidFill>
                  <a:prstClr val="white"/>
                </a:solidFill>
              </a:rPr>
              <a:t>© Центр стратегических разработок</a:t>
            </a:r>
            <a:endParaRPr lang="ru-RU">
              <a:solidFill>
                <a:prstClr val="white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BAB281E-F444-1144-B042-5FE9A7BB944A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  <p:pic>
        <p:nvPicPr>
          <p:cNvPr id="9" name="Изображение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28650" y="591678"/>
            <a:ext cx="777120" cy="1211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999254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Титульный слайд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28655" y="1939895"/>
            <a:ext cx="7946069" cy="1570068"/>
          </a:xfrm>
        </p:spPr>
        <p:txBody>
          <a:bodyPr anchor="b"/>
          <a:lstStyle>
            <a:lvl1pPr algn="ctr">
              <a:defRPr sz="4875">
                <a:solidFill>
                  <a:srgbClr val="0070C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28650" y="3602038"/>
            <a:ext cx="7946068" cy="1655762"/>
          </a:xfrm>
        </p:spPr>
        <p:txBody>
          <a:bodyPr/>
          <a:lstStyle>
            <a:lvl1pPr marL="0" indent="0" algn="ctr">
              <a:buNone/>
              <a:defRPr sz="19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pic>
        <p:nvPicPr>
          <p:cNvPr id="7" name="Изображение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28650" y="591678"/>
            <a:ext cx="777120" cy="1211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409958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Титульный слайд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28655" y="2016807"/>
            <a:ext cx="7946069" cy="1493156"/>
          </a:xfrm>
        </p:spPr>
        <p:txBody>
          <a:bodyPr anchor="b"/>
          <a:lstStyle>
            <a:lvl1pPr algn="l">
              <a:defRPr sz="4875">
                <a:solidFill>
                  <a:srgbClr val="0070C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28650" y="3602038"/>
            <a:ext cx="7946068" cy="1655762"/>
          </a:xfrm>
        </p:spPr>
        <p:txBody>
          <a:bodyPr/>
          <a:lstStyle>
            <a:lvl1pPr marL="0" indent="0" algn="l">
              <a:buNone/>
              <a:defRPr sz="1950">
                <a:solidFill>
                  <a:schemeClr val="tx1"/>
                </a:solidFill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pic>
        <p:nvPicPr>
          <p:cNvPr id="7" name="Изображение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91572" y="379249"/>
            <a:ext cx="683148" cy="10649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839843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28650" y="1122363"/>
            <a:ext cx="6858000" cy="2387600"/>
          </a:xfrm>
        </p:spPr>
        <p:txBody>
          <a:bodyPr anchor="b"/>
          <a:lstStyle>
            <a:lvl1pPr algn="l">
              <a:defRPr sz="4875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213E8-2813-A147-9F9A-723AD44D38B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© Центр стратегических разработок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B281E-F444-1144-B042-5FE9A7BB944A}" type="slidenum">
              <a:rPr lang="ru-RU" smtClean="0">
                <a:gradFill>
                  <a:gsLst>
                    <a:gs pos="0">
                      <a:srgbClr val="002060"/>
                    </a:gs>
                    <a:gs pos="100000">
                      <a:srgbClr val="5B9BD5">
                        <a:lumMod val="75000"/>
                      </a:srgbClr>
                    </a:gs>
                  </a:gsLst>
                  <a:path path="circle">
                    <a:fillToRect t="100000" r="100000"/>
                  </a:path>
                </a:gradFill>
              </a:rPr>
              <a:pPr/>
              <a:t>‹#›</a:t>
            </a:fld>
            <a:endParaRPr lang="ru-RU">
              <a:gradFill>
                <a:gsLst>
                  <a:gs pos="0">
                    <a:srgbClr val="002060"/>
                  </a:gs>
                  <a:gs pos="100000">
                    <a:srgbClr val="5B9BD5">
                      <a:lumMod val="75000"/>
                    </a:srgbClr>
                  </a:gs>
                </a:gsLst>
                <a:path path="circle">
                  <a:fillToRect t="100000" r="100000"/>
                </a:path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368935939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6EE8C8-5E7C-094A-A333-DAE1C2AC640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© Центр стратегических разработок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B281E-F444-1144-B042-5FE9A7BB944A}" type="slidenum">
              <a:rPr lang="ru-RU" smtClean="0">
                <a:gradFill>
                  <a:gsLst>
                    <a:gs pos="0">
                      <a:srgbClr val="002060"/>
                    </a:gs>
                    <a:gs pos="100000">
                      <a:srgbClr val="5B9BD5">
                        <a:lumMod val="75000"/>
                      </a:srgbClr>
                    </a:gs>
                  </a:gsLst>
                  <a:path path="circle">
                    <a:fillToRect t="100000" r="100000"/>
                  </a:path>
                </a:gradFill>
              </a:rPr>
              <a:pPr/>
              <a:t>‹#›</a:t>
            </a:fld>
            <a:endParaRPr lang="ru-RU">
              <a:gradFill>
                <a:gsLst>
                  <a:gs pos="0">
                    <a:srgbClr val="002060"/>
                  </a:gs>
                  <a:gs pos="100000">
                    <a:srgbClr val="5B9BD5">
                      <a:lumMod val="75000"/>
                    </a:srgbClr>
                  </a:gs>
                </a:gsLst>
                <a:path path="circle">
                  <a:fillToRect t="100000" r="100000"/>
                </a:path>
              </a:gra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628651" y="368312"/>
            <a:ext cx="7885510" cy="100051"/>
          </a:xfrm>
          <a:prstGeom prst="rect">
            <a:avLst/>
          </a:prstGeom>
          <a:gradFill>
            <a:gsLst>
              <a:gs pos="0">
                <a:schemeClr val="bg1">
                  <a:lumMod val="95000"/>
                </a:schemeClr>
              </a:gs>
              <a:gs pos="92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>
              <a:solidFill>
                <a:prstClr val="white"/>
              </a:solidFill>
            </a:endParaRPr>
          </a:p>
        </p:txBody>
      </p:sp>
      <p:pic>
        <p:nvPicPr>
          <p:cNvPr id="8" name="Изображение 7"/>
          <p:cNvPicPr>
            <a:picLocks noChangeAspect="1"/>
          </p:cNvPicPr>
          <p:nvPr userDrawn="1"/>
        </p:nvPicPr>
        <p:blipFill>
          <a:blip r:embed="rId2">
            <a:alphaModFix amt="48000"/>
          </a:blip>
          <a:stretch>
            <a:fillRect/>
          </a:stretch>
        </p:blipFill>
        <p:spPr>
          <a:xfrm>
            <a:off x="7969028" y="657229"/>
            <a:ext cx="545132" cy="1047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5551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92" y="1709743"/>
            <a:ext cx="7886700" cy="2852737"/>
          </a:xfrm>
        </p:spPr>
        <p:txBody>
          <a:bodyPr anchor="b"/>
          <a:lstStyle>
            <a:lvl1pPr>
              <a:defRPr sz="4875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92" y="4589475"/>
            <a:ext cx="7886700" cy="1500187"/>
          </a:xfr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597A0-0DFC-3349-80BF-7B3EBC44260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© Центр стратегических разработок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B281E-F444-1144-B042-5FE9A7BB944A}" type="slidenum">
              <a:rPr lang="ru-RU" smtClean="0">
                <a:gradFill>
                  <a:gsLst>
                    <a:gs pos="0">
                      <a:srgbClr val="002060"/>
                    </a:gs>
                    <a:gs pos="100000">
                      <a:srgbClr val="5B9BD5">
                        <a:lumMod val="75000"/>
                      </a:srgbClr>
                    </a:gs>
                  </a:gsLst>
                  <a:path path="circle">
                    <a:fillToRect t="100000" r="100000"/>
                  </a:path>
                </a:gradFill>
              </a:rPr>
              <a:pPr/>
              <a:t>‹#›</a:t>
            </a:fld>
            <a:endParaRPr lang="ru-RU">
              <a:gradFill>
                <a:gsLst>
                  <a:gs pos="0">
                    <a:srgbClr val="002060"/>
                  </a:gs>
                  <a:gs pos="100000">
                    <a:srgbClr val="5B9BD5">
                      <a:lumMod val="75000"/>
                    </a:srgbClr>
                  </a:gs>
                </a:gsLst>
                <a:path path="circle">
                  <a:fillToRect t="100000" r="100000"/>
                </a:path>
              </a:gra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628651" y="368312"/>
            <a:ext cx="7885510" cy="1000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795764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408B29-DAF2-4D47-8C47-3D912FE76CE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© Центр стратегических разработок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B281E-F444-1144-B042-5FE9A7BB944A}" type="slidenum">
              <a:rPr lang="ru-RU" smtClean="0">
                <a:gradFill>
                  <a:gsLst>
                    <a:gs pos="0">
                      <a:srgbClr val="002060"/>
                    </a:gs>
                    <a:gs pos="100000">
                      <a:srgbClr val="5B9BD5">
                        <a:lumMod val="75000"/>
                      </a:srgbClr>
                    </a:gs>
                  </a:gsLst>
                  <a:path path="circle">
                    <a:fillToRect t="100000" r="100000"/>
                  </a:path>
                </a:gradFill>
              </a:rPr>
              <a:pPr/>
              <a:t>‹#›</a:t>
            </a:fld>
            <a:endParaRPr lang="ru-RU">
              <a:gradFill>
                <a:gsLst>
                  <a:gs pos="0">
                    <a:srgbClr val="002060"/>
                  </a:gs>
                  <a:gs pos="100000">
                    <a:srgbClr val="5B9BD5">
                      <a:lumMod val="75000"/>
                    </a:srgbClr>
                  </a:gs>
                </a:gsLst>
                <a:path path="circle">
                  <a:fillToRect t="100000" r="100000"/>
                </a:path>
              </a:gra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628651" y="368312"/>
            <a:ext cx="7885510" cy="1000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613031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4" y="657228"/>
            <a:ext cx="7886700" cy="1033463"/>
          </a:xfrm>
        </p:spPr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1" y="1681163"/>
            <a:ext cx="3868340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1" y="2505075"/>
            <a:ext cx="3868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6345BD-CB52-EC4C-ABE0-A1D459A0915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© Центр стратегических разработок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B281E-F444-1144-B042-5FE9A7BB944A}" type="slidenum">
              <a:rPr lang="ru-RU" smtClean="0">
                <a:gradFill>
                  <a:gsLst>
                    <a:gs pos="0">
                      <a:srgbClr val="002060"/>
                    </a:gs>
                    <a:gs pos="100000">
                      <a:srgbClr val="5B9BD5">
                        <a:lumMod val="75000"/>
                      </a:srgbClr>
                    </a:gs>
                  </a:gsLst>
                  <a:path path="circle">
                    <a:fillToRect t="100000" r="100000"/>
                  </a:path>
                </a:gradFill>
              </a:rPr>
              <a:pPr/>
              <a:t>‹#›</a:t>
            </a:fld>
            <a:endParaRPr lang="ru-RU">
              <a:gradFill>
                <a:gsLst>
                  <a:gs pos="0">
                    <a:srgbClr val="002060"/>
                  </a:gs>
                  <a:gs pos="100000">
                    <a:srgbClr val="5B9BD5">
                      <a:lumMod val="75000"/>
                    </a:srgbClr>
                  </a:gs>
                </a:gsLst>
                <a:path path="circle">
                  <a:fillToRect t="100000" r="100000"/>
                </a:path>
              </a:gra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628651" y="368312"/>
            <a:ext cx="7885510" cy="1000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753124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FAD4F2-197A-2D46-B410-0E3B283E79C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© Центр стратегических разработок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B281E-F444-1144-B042-5FE9A7BB944A}" type="slidenum">
              <a:rPr lang="ru-RU" smtClean="0">
                <a:gradFill>
                  <a:gsLst>
                    <a:gs pos="0">
                      <a:srgbClr val="002060"/>
                    </a:gs>
                    <a:gs pos="100000">
                      <a:srgbClr val="5B9BD5">
                        <a:lumMod val="75000"/>
                      </a:srgbClr>
                    </a:gs>
                  </a:gsLst>
                  <a:path path="circle">
                    <a:fillToRect t="100000" r="100000"/>
                  </a:path>
                </a:gradFill>
              </a:rPr>
              <a:pPr/>
              <a:t>‹#›</a:t>
            </a:fld>
            <a:endParaRPr lang="ru-RU">
              <a:gradFill>
                <a:gsLst>
                  <a:gs pos="0">
                    <a:srgbClr val="002060"/>
                  </a:gs>
                  <a:gs pos="100000">
                    <a:srgbClr val="5B9BD5">
                      <a:lumMod val="75000"/>
                    </a:srgbClr>
                  </a:gs>
                </a:gsLst>
                <a:path path="circle">
                  <a:fillToRect t="100000" r="100000"/>
                </a:path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28383661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335C8E-F24B-4C7E-87A6-F8E41FDBB0AA}" type="datetime1">
              <a:rPr lang="ru-RU" smtClean="0"/>
              <a:t>18.07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9407153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6CBB2D-1AFB-4C40-B0F4-0FFF84D0DE3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© Центр стратегических разработок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B281E-F444-1144-B042-5FE9A7BB944A}" type="slidenum">
              <a:rPr lang="ru-RU" smtClean="0">
                <a:gradFill>
                  <a:gsLst>
                    <a:gs pos="0">
                      <a:srgbClr val="002060"/>
                    </a:gs>
                    <a:gs pos="100000">
                      <a:srgbClr val="5B9BD5">
                        <a:lumMod val="75000"/>
                      </a:srgbClr>
                    </a:gs>
                  </a:gsLst>
                  <a:path path="circle">
                    <a:fillToRect t="100000" r="100000"/>
                  </a:path>
                </a:gradFill>
              </a:rPr>
              <a:pPr/>
              <a:t>‹#›</a:t>
            </a:fld>
            <a:endParaRPr lang="ru-RU">
              <a:gradFill>
                <a:gsLst>
                  <a:gs pos="0">
                    <a:srgbClr val="002060"/>
                  </a:gs>
                  <a:gs pos="100000">
                    <a:srgbClr val="5B9BD5">
                      <a:lumMod val="75000"/>
                    </a:srgbClr>
                  </a:gs>
                </a:gsLst>
                <a:path path="circle">
                  <a:fillToRect t="100000" r="100000"/>
                </a:path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281799931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5" y="657225"/>
            <a:ext cx="2949178" cy="118745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5" y="2057400"/>
            <a:ext cx="2949178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CBC0B4-7B01-7F4B-9F6B-32909161408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© Центр стратегических разработок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B281E-F444-1144-B042-5FE9A7BB944A}" type="slidenum">
              <a:rPr lang="ru-RU" smtClean="0">
                <a:gradFill>
                  <a:gsLst>
                    <a:gs pos="0">
                      <a:srgbClr val="002060"/>
                    </a:gs>
                    <a:gs pos="100000">
                      <a:srgbClr val="5B9BD5">
                        <a:lumMod val="75000"/>
                      </a:srgbClr>
                    </a:gs>
                  </a:gsLst>
                  <a:path path="circle">
                    <a:fillToRect t="100000" r="100000"/>
                  </a:path>
                </a:gradFill>
              </a:rPr>
              <a:pPr/>
              <a:t>‹#›</a:t>
            </a:fld>
            <a:endParaRPr lang="ru-RU">
              <a:gradFill>
                <a:gsLst>
                  <a:gs pos="0">
                    <a:srgbClr val="002060"/>
                  </a:gs>
                  <a:gs pos="100000">
                    <a:srgbClr val="5B9BD5">
                      <a:lumMod val="75000"/>
                    </a:srgbClr>
                  </a:gs>
                </a:gsLst>
                <a:path path="circle">
                  <a:fillToRect t="100000" r="100000"/>
                </a:path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11568699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5" y="657225"/>
            <a:ext cx="2949178" cy="118745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600"/>
            </a:lvl1pPr>
            <a:lvl2pPr marL="371475" indent="0">
              <a:buNone/>
              <a:defRPr sz="2275"/>
            </a:lvl2pPr>
            <a:lvl3pPr marL="742950" indent="0">
              <a:buNone/>
              <a:defRPr sz="1950"/>
            </a:lvl3pPr>
            <a:lvl4pPr marL="1114425" indent="0">
              <a:buNone/>
              <a:defRPr sz="1625"/>
            </a:lvl4pPr>
            <a:lvl5pPr marL="1485900" indent="0">
              <a:buNone/>
              <a:defRPr sz="1625"/>
            </a:lvl5pPr>
            <a:lvl6pPr marL="1857375" indent="0">
              <a:buNone/>
              <a:defRPr sz="1625"/>
            </a:lvl6pPr>
            <a:lvl7pPr marL="2228850" indent="0">
              <a:buNone/>
              <a:defRPr sz="1625"/>
            </a:lvl7pPr>
            <a:lvl8pPr marL="2600325" indent="0">
              <a:buNone/>
              <a:defRPr sz="1625"/>
            </a:lvl8pPr>
            <a:lvl9pPr marL="2971800" indent="0">
              <a:buNone/>
              <a:defRPr sz="1625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5" y="2057400"/>
            <a:ext cx="2949178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6F2B5A-802E-6443-B2D1-B78412D137D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© Центр стратегических разработок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B281E-F444-1144-B042-5FE9A7BB944A}" type="slidenum">
              <a:rPr lang="ru-RU" smtClean="0">
                <a:gradFill>
                  <a:gsLst>
                    <a:gs pos="0">
                      <a:srgbClr val="002060"/>
                    </a:gs>
                    <a:gs pos="100000">
                      <a:srgbClr val="5B9BD5">
                        <a:lumMod val="75000"/>
                      </a:srgbClr>
                    </a:gs>
                  </a:gsLst>
                  <a:path path="circle">
                    <a:fillToRect t="100000" r="100000"/>
                  </a:path>
                </a:gradFill>
              </a:rPr>
              <a:pPr/>
              <a:t>‹#›</a:t>
            </a:fld>
            <a:endParaRPr lang="ru-RU">
              <a:gradFill>
                <a:gsLst>
                  <a:gs pos="0">
                    <a:srgbClr val="002060"/>
                  </a:gs>
                  <a:gs pos="100000">
                    <a:srgbClr val="5B9BD5">
                      <a:lumMod val="75000"/>
                    </a:srgbClr>
                  </a:gs>
                </a:gsLst>
                <a:path path="circle">
                  <a:fillToRect t="100000" r="100000"/>
                </a:path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94843967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.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6E1A58-0247-C948-A1ED-8AA078D62BA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© Центр стратегических разработок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B281E-F444-1144-B042-5FE9A7BB944A}" type="slidenum">
              <a:rPr lang="ru-RU" smtClean="0">
                <a:gradFill>
                  <a:gsLst>
                    <a:gs pos="0">
                      <a:srgbClr val="002060"/>
                    </a:gs>
                    <a:gs pos="100000">
                      <a:srgbClr val="5B9BD5">
                        <a:lumMod val="75000"/>
                      </a:srgbClr>
                    </a:gs>
                  </a:gsLst>
                  <a:path path="circle">
                    <a:fillToRect t="100000" r="100000"/>
                  </a:path>
                </a:gradFill>
              </a:rPr>
              <a:pPr/>
              <a:t>‹#›</a:t>
            </a:fld>
            <a:endParaRPr lang="ru-RU">
              <a:gradFill>
                <a:gsLst>
                  <a:gs pos="0">
                    <a:srgbClr val="002060"/>
                  </a:gs>
                  <a:gs pos="100000">
                    <a:srgbClr val="5B9BD5">
                      <a:lumMod val="75000"/>
                    </a:srgbClr>
                  </a:gs>
                </a:gsLst>
                <a:path path="circle">
                  <a:fillToRect t="100000" r="100000"/>
                </a:path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378767290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. загол.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80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5" y="365125"/>
            <a:ext cx="58007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B87991-E78B-A644-902E-0C95D27BF56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© Центр стратегических разработок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B281E-F444-1144-B042-5FE9A7BB944A}" type="slidenum">
              <a:rPr lang="ru-RU" smtClean="0">
                <a:gradFill>
                  <a:gsLst>
                    <a:gs pos="0">
                      <a:srgbClr val="002060"/>
                    </a:gs>
                    <a:gs pos="100000">
                      <a:srgbClr val="5B9BD5">
                        <a:lumMod val="75000"/>
                      </a:srgbClr>
                    </a:gs>
                  </a:gsLst>
                  <a:path path="circle">
                    <a:fillToRect t="100000" r="100000"/>
                  </a:path>
                </a:gradFill>
              </a:rPr>
              <a:pPr/>
              <a:t>‹#›</a:t>
            </a:fld>
            <a:endParaRPr lang="ru-RU">
              <a:gradFill>
                <a:gsLst>
                  <a:gs pos="0">
                    <a:srgbClr val="002060"/>
                  </a:gs>
                  <a:gs pos="100000">
                    <a:srgbClr val="5B9BD5">
                      <a:lumMod val="75000"/>
                    </a:srgbClr>
                  </a:gs>
                </a:gsLst>
                <a:path path="circle">
                  <a:fillToRect t="100000" r="100000"/>
                </a:path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348896269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>
            <a:normAutofit/>
          </a:bodyPr>
          <a:lstStyle>
            <a:lvl1pPr marL="0" indent="0">
              <a:buNone/>
              <a:defRPr sz="2925" b="0">
                <a:solidFill>
                  <a:srgbClr val="013D34"/>
                </a:solidFill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>
            <a:normAutofit/>
          </a:bodyPr>
          <a:lstStyle>
            <a:lvl1pPr marL="0" indent="0">
              <a:buNone/>
              <a:defRPr sz="2925" b="0">
                <a:solidFill>
                  <a:srgbClr val="013D34"/>
                </a:solidFill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C385F5-79AA-9F48-A11B-C38EFB6B76A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72F9E2-A681-4523-A1E3-B13174320180}" type="slidenum">
              <a:rPr lang="ru-RU" smtClean="0">
                <a:gradFill>
                  <a:gsLst>
                    <a:gs pos="0">
                      <a:srgbClr val="002060"/>
                    </a:gs>
                    <a:gs pos="100000">
                      <a:srgbClr val="5B9BD5">
                        <a:lumMod val="75000"/>
                      </a:srgbClr>
                    </a:gs>
                  </a:gsLst>
                  <a:path path="circle">
                    <a:fillToRect t="100000" r="100000"/>
                  </a:path>
                </a:gradFill>
              </a:rPr>
              <a:pPr/>
              <a:t>‹#›</a:t>
            </a:fld>
            <a:endParaRPr lang="ru-RU">
              <a:gradFill>
                <a:gsLst>
                  <a:gs pos="0">
                    <a:srgbClr val="002060"/>
                  </a:gs>
                  <a:gs pos="100000">
                    <a:srgbClr val="5B9BD5">
                      <a:lumMod val="75000"/>
                    </a:srgbClr>
                  </a:gs>
                </a:gsLst>
                <a:path path="circle">
                  <a:fillToRect t="100000" r="100000"/>
                </a:path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85598882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0B0643-36B8-4BD9-B656-6834FA20F14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FF39AB-B043-4145-9443-2A657DCFEAC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406104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72732-5339-4723-9A94-B186726939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FF39AB-B043-4145-9443-2A657DCFEAC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171881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507586-0F4E-4B59-8866-02B05D153A1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FF39AB-B043-4145-9443-2A657DCFEAC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384299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219A79-3273-457E-BAF6-A10792B3064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FF39AB-B043-4145-9443-2A657DCFEAC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94215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6" y="273050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1" y="273058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6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EB3B5E-5234-4131-8DDA-4EFB1D37B9C2}" type="datetime1">
              <a:rPr lang="ru-RU" smtClean="0"/>
              <a:t>18.07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3063803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E1AC77-32D0-41CD-B028-B109E9B5BE5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FF39AB-B043-4145-9443-2A657DCFEAC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003353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225F36-9FA9-422B-9538-3A3740EEA6D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FF39AB-B043-4145-9443-2A657DCFEAC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416576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CE3225-B7F3-46B9-A4B1-FE577436598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FF39AB-B043-4145-9443-2A657DCFEAC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325822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74677F-EC5F-4534-9AC9-B594F7470A6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FF39AB-B043-4145-9443-2A657DCFEAC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381305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D8CDDF-5D3E-4AD0-B7DA-BB94920FF3B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FF39AB-B043-4145-9443-2A657DCFEAC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072500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33FA9B-3C41-4FAD-99EC-01BB407B800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FF39AB-B043-4145-9443-2A657DCFEAC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122049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3C0288-2CCA-4405-AE73-D443F0B394F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FF39AB-B043-4145-9443-2A657DCFEAC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314451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0B0643-36B8-4BD9-B656-6834FA20F14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FF39AB-B043-4145-9443-2A657DCFEAC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216649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72732-5339-4723-9A94-B186726939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FF39AB-B043-4145-9443-2A657DCFEAC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267329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4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3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1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6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507586-0F4E-4B59-8866-02B05D153A1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FF39AB-B043-4145-9443-2A657DCFEAC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12228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9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51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EDB52-E467-49EB-9344-EEB0C81EAA34}" type="datetime1">
              <a:rPr lang="ru-RU" smtClean="0"/>
              <a:t>18.07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528859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219A79-3273-457E-BAF6-A10792B3064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FF39AB-B043-4145-9443-2A657DCFEAC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470308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2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1" indent="0">
              <a:buNone/>
              <a:defRPr sz="1600" b="1"/>
            </a:lvl5pPr>
            <a:lvl6pPr marL="2285726" indent="0">
              <a:buNone/>
              <a:defRPr sz="1600" b="1"/>
            </a:lvl6pPr>
            <a:lvl7pPr marL="2742871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1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2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1" indent="0">
              <a:buNone/>
              <a:defRPr sz="1600" b="1"/>
            </a:lvl5pPr>
            <a:lvl6pPr marL="2285726" indent="0">
              <a:buNone/>
              <a:defRPr sz="1600" b="1"/>
            </a:lvl6pPr>
            <a:lvl7pPr marL="2742871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1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E1AC77-32D0-41CD-B028-B109E9B5BE5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FF39AB-B043-4145-9443-2A657DCFEAC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889040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225F36-9FA9-422B-9538-3A3740EEA6D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FF39AB-B043-4145-9443-2A657DCFEAC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513263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CE3225-B7F3-46B9-A4B1-FE577436598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FF39AB-B043-4145-9443-2A657DCFEAC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119370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1" y="273051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74677F-EC5F-4534-9AC9-B594F7470A6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FF39AB-B043-4145-9443-2A657DCFEAC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959439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2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45" indent="0">
              <a:buNone/>
              <a:defRPr sz="2800"/>
            </a:lvl2pPr>
            <a:lvl3pPr marL="914290" indent="0">
              <a:buNone/>
              <a:defRPr sz="2400"/>
            </a:lvl3pPr>
            <a:lvl4pPr marL="1371435" indent="0">
              <a:buNone/>
              <a:defRPr sz="2000"/>
            </a:lvl4pPr>
            <a:lvl5pPr marL="1828581" indent="0">
              <a:buNone/>
              <a:defRPr sz="2000"/>
            </a:lvl5pPr>
            <a:lvl6pPr marL="2285726" indent="0">
              <a:buNone/>
              <a:defRPr sz="2000"/>
            </a:lvl6pPr>
            <a:lvl7pPr marL="2742871" indent="0">
              <a:buNone/>
              <a:defRPr sz="2000"/>
            </a:lvl7pPr>
            <a:lvl8pPr marL="3200016" indent="0">
              <a:buNone/>
              <a:defRPr sz="2000"/>
            </a:lvl8pPr>
            <a:lvl9pPr marL="3657161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40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D8CDDF-5D3E-4AD0-B7DA-BB94920FF3B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FF39AB-B043-4145-9443-2A657DCFEAC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010967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33FA9B-3C41-4FAD-99EC-01BB407B800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FF39AB-B043-4145-9443-2A657DCFEAC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799087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3C0288-2CCA-4405-AE73-D443F0B394F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FF39AB-B043-4145-9443-2A657DCFEAC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90209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2" Type="http://schemas.openxmlformats.org/officeDocument/2006/relationships/slideLayout" Target="../slideLayouts/slideLayout62.xml"/><Relationship Id="rId16" Type="http://schemas.openxmlformats.org/officeDocument/2006/relationships/theme" Target="../theme/theme10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3" Type="http://schemas.openxmlformats.org/officeDocument/2006/relationships/slideLayout" Target="../slideLayouts/slideLayout78.xml"/><Relationship Id="rId7" Type="http://schemas.openxmlformats.org/officeDocument/2006/relationships/slideLayout" Target="../slideLayouts/slideLayout82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77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5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3" Type="http://schemas.openxmlformats.org/officeDocument/2006/relationships/slideLayout" Target="../slideLayouts/slideLayout89.xml"/><Relationship Id="rId7" Type="http://schemas.openxmlformats.org/officeDocument/2006/relationships/slideLayout" Target="../slideLayouts/slideLayout93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88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5" Type="http://schemas.openxmlformats.org/officeDocument/2006/relationships/slideLayout" Target="../slideLayouts/slideLayout91.xml"/><Relationship Id="rId10" Type="http://schemas.openxmlformats.org/officeDocument/2006/relationships/slideLayout" Target="../slideLayouts/slideLayout96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Layout" Target="../slideLayouts/slideLayout14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2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5.xml"/><Relationship Id="rId9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3.xml"/><Relationship Id="rId7" Type="http://schemas.openxmlformats.org/officeDocument/2006/relationships/oleObject" Target="../embeddings/oleObject6.bin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.jpg"/><Relationship Id="rId5" Type="http://schemas.openxmlformats.org/officeDocument/2006/relationships/tags" Target="../tags/tag6.xml"/><Relationship Id="rId4" Type="http://schemas.openxmlformats.org/officeDocument/2006/relationships/vmlDrawing" Target="../drawings/vmlDrawing6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Layout" Target="../slideLayouts/slideLayout20.xml"/><Relationship Id="rId7" Type="http://schemas.openxmlformats.org/officeDocument/2006/relationships/tags" Target="../tags/tag9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vmlDrawing" Target="../drawings/vmlDrawing9.vml"/><Relationship Id="rId5" Type="http://schemas.openxmlformats.org/officeDocument/2006/relationships/theme" Target="../theme/theme4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21.xml"/><Relationship Id="rId9" Type="http://schemas.openxmlformats.org/officeDocument/2006/relationships/oleObject" Target="../embeddings/oleObject9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2.jpg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tags" Target="../tags/tag14.xml"/><Relationship Id="rId5" Type="http://schemas.openxmlformats.org/officeDocument/2006/relationships/vmlDrawing" Target="../drawings/vmlDrawing14.vml"/><Relationship Id="rId4" Type="http://schemas.openxmlformats.org/officeDocument/2006/relationships/theme" Target="../theme/theme5.xml"/><Relationship Id="rId9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6.xml"/><Relationship Id="rId7" Type="http://schemas.openxmlformats.org/officeDocument/2006/relationships/oleObject" Target="../embeddings/oleObject17.bin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2.jpg"/><Relationship Id="rId5" Type="http://schemas.openxmlformats.org/officeDocument/2006/relationships/tags" Target="../tags/tag17.xml"/><Relationship Id="rId4" Type="http://schemas.openxmlformats.org/officeDocument/2006/relationships/vmlDrawing" Target="../drawings/vmlDrawing17.v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5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6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124E32-D72C-473A-91D7-74F4121341E0}" type="datetime1">
              <a:rPr lang="ru-RU" smtClean="0"/>
              <a:t>18.07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68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6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B06663-6524-4EA9-B00B-80A50C1FAFA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730429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657922"/>
            <a:ext cx="7266414" cy="10332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6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6362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13" b="0" i="0">
                <a:solidFill>
                  <a:schemeClr val="tx1">
                    <a:tint val="7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fld id="{6EFE122C-379D-B940-947C-F6ECCCF304D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6" y="6356362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13" b="0" i="0">
                <a:solidFill>
                  <a:schemeClr val="tx1">
                    <a:tint val="7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© Центр стратегических разработок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62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r">
              <a:defRPr sz="1950" b="0" i="0">
                <a:gradFill>
                  <a:gsLst>
                    <a:gs pos="0">
                      <a:srgbClr val="002060"/>
                    </a:gs>
                    <a:gs pos="100000">
                      <a:schemeClr val="accent1">
                        <a:lumMod val="75000"/>
                      </a:schemeClr>
                    </a:gs>
                  </a:gsLst>
                  <a:path path="circle">
                    <a:fillToRect t="100000" r="100000"/>
                  </a:path>
                </a:gradFill>
                <a:latin typeface="Segoe UI Light" charset="0"/>
                <a:ea typeface="Segoe UI Light" charset="0"/>
                <a:cs typeface="Segoe UI Light" charset="0"/>
              </a:defRPr>
            </a:lvl1pPr>
          </a:lstStyle>
          <a:p>
            <a:fld id="{CBAB281E-F444-1144-B042-5FE9A7BB944A}" type="slidenum">
              <a:rPr lang="ru-RU" smtClean="0">
                <a:gradFill>
                  <a:gsLst>
                    <a:gs pos="0">
                      <a:srgbClr val="002060"/>
                    </a:gs>
                    <a:gs pos="100000">
                      <a:srgbClr val="5B9BD5">
                        <a:lumMod val="75000"/>
                      </a:srgbClr>
                    </a:gs>
                  </a:gsLst>
                  <a:path path="circle">
                    <a:fillToRect t="100000" r="100000"/>
                  </a:path>
                </a:gradFill>
              </a:rPr>
              <a:pPr/>
              <a:t>‹#›</a:t>
            </a:fld>
            <a:endParaRPr lang="ru-RU" dirty="0">
              <a:gradFill>
                <a:gsLst>
                  <a:gs pos="0">
                    <a:srgbClr val="002060"/>
                  </a:gs>
                  <a:gs pos="100000">
                    <a:srgbClr val="5B9BD5">
                      <a:lumMod val="75000"/>
                    </a:srgbClr>
                  </a:gs>
                </a:gsLst>
                <a:path path="circle">
                  <a:fillToRect t="100000" r="100000"/>
                </a:path>
              </a:gradFill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628651" y="6289288"/>
            <a:ext cx="7885510" cy="0"/>
          </a:xfrm>
          <a:prstGeom prst="line">
            <a:avLst/>
          </a:prstGeom>
          <a:ln w="15240">
            <a:gradFill flip="none" rotWithShape="1">
              <a:gsLst>
                <a:gs pos="100000">
                  <a:srgbClr val="FF0000"/>
                </a:gs>
                <a:gs pos="0">
                  <a:schemeClr val="bg1"/>
                </a:gs>
                <a:gs pos="50000">
                  <a:schemeClr val="accent1">
                    <a:lumMod val="75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87792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3" r:id="rId10"/>
    <p:sldLayoutId id="2147483744" r:id="rId11"/>
    <p:sldLayoutId id="2147483745" r:id="rId12"/>
    <p:sldLayoutId id="2147483746" r:id="rId13"/>
    <p:sldLayoutId id="2147483747" r:id="rId14"/>
    <p:sldLayoutId id="2147483748" r:id="rId15"/>
  </p:sldLayoutIdLst>
  <p:hf hdr="0"/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sz="2925" b="1" i="0" kern="1200" cap="all" baseline="0">
          <a:gradFill flip="none" rotWithShape="1">
            <a:gsLst>
              <a:gs pos="0">
                <a:schemeClr val="accent1">
                  <a:lumMod val="50000"/>
                </a:schemeClr>
              </a:gs>
              <a:gs pos="100000">
                <a:schemeClr val="accent1">
                  <a:lumMod val="75000"/>
                </a:schemeClr>
              </a:gs>
            </a:gsLst>
            <a:path path="circle">
              <a:fillToRect t="100000" r="100000"/>
            </a:path>
            <a:tileRect l="-100000" b="-100000"/>
          </a:gradFill>
          <a:latin typeface="Segoe UI Semibold" charset="0"/>
          <a:ea typeface="Segoe UI Semibold" charset="0"/>
          <a:cs typeface="Segoe UI Semibold" charset="0"/>
        </a:defRPr>
      </a:lvl1pPr>
    </p:titleStyle>
    <p:bodyStyle>
      <a:lvl1pPr marL="185738" indent="-185738" algn="l" defTabSz="742950" rtl="0" eaLnBrk="1" latinLnBrk="0" hangingPunct="1">
        <a:lnSpc>
          <a:spcPct val="90000"/>
        </a:lnSpc>
        <a:spcBef>
          <a:spcPts val="813"/>
        </a:spcBef>
        <a:buFont typeface="Arial"/>
        <a:buChar char="•"/>
        <a:defRPr sz="2275" b="0" i="0" kern="1200">
          <a:solidFill>
            <a:schemeClr val="tx1">
              <a:lumMod val="75000"/>
              <a:lumOff val="25000"/>
            </a:schemeClr>
          </a:solidFill>
          <a:latin typeface="Segoe UI" charset="0"/>
          <a:ea typeface="Segoe UI" charset="0"/>
          <a:cs typeface="Segoe UI" charset="0"/>
        </a:defRPr>
      </a:lvl1pPr>
      <a:lvl2pPr marL="557213" indent="-185738" algn="l" defTabSz="742950" rtl="0" eaLnBrk="1" latinLnBrk="0" hangingPunct="1">
        <a:lnSpc>
          <a:spcPct val="90000"/>
        </a:lnSpc>
        <a:spcBef>
          <a:spcPts val="406"/>
        </a:spcBef>
        <a:buFont typeface="Arial"/>
        <a:buChar char="•"/>
        <a:defRPr sz="1950" b="0" i="0" kern="1200">
          <a:solidFill>
            <a:schemeClr val="tx1">
              <a:lumMod val="75000"/>
              <a:lumOff val="25000"/>
            </a:schemeClr>
          </a:solidFill>
          <a:latin typeface="Segoe UI" charset="0"/>
          <a:ea typeface="Segoe UI" charset="0"/>
          <a:cs typeface="Segoe UI" charset="0"/>
        </a:defRPr>
      </a:lvl2pPr>
      <a:lvl3pPr marL="928688" indent="-185738" algn="l" defTabSz="742950" rtl="0" eaLnBrk="1" latinLnBrk="0" hangingPunct="1">
        <a:lnSpc>
          <a:spcPct val="90000"/>
        </a:lnSpc>
        <a:spcBef>
          <a:spcPts val="406"/>
        </a:spcBef>
        <a:buFont typeface="Arial"/>
        <a:buChar char="•"/>
        <a:defRPr sz="1625" b="0" i="0" kern="1200">
          <a:solidFill>
            <a:schemeClr val="tx1">
              <a:lumMod val="75000"/>
              <a:lumOff val="25000"/>
            </a:schemeClr>
          </a:solidFill>
          <a:latin typeface="Segoe UI" charset="0"/>
          <a:ea typeface="Segoe UI" charset="0"/>
          <a:cs typeface="Segoe UI" charset="0"/>
        </a:defRPr>
      </a:lvl3pPr>
      <a:lvl4pPr marL="1300163" indent="-185738" algn="l" defTabSz="742950" rtl="0" eaLnBrk="1" latinLnBrk="0" hangingPunct="1">
        <a:lnSpc>
          <a:spcPct val="90000"/>
        </a:lnSpc>
        <a:spcBef>
          <a:spcPts val="406"/>
        </a:spcBef>
        <a:buFont typeface="Arial"/>
        <a:buChar char="•"/>
        <a:defRPr sz="1463" b="0" i="0" kern="1200">
          <a:solidFill>
            <a:schemeClr val="tx1">
              <a:lumMod val="75000"/>
              <a:lumOff val="25000"/>
            </a:schemeClr>
          </a:solidFill>
          <a:latin typeface="Segoe UI" charset="0"/>
          <a:ea typeface="Segoe UI" charset="0"/>
          <a:cs typeface="Segoe UI" charset="0"/>
        </a:defRPr>
      </a:lvl4pPr>
      <a:lvl5pPr marL="1671638" indent="-185738" algn="l" defTabSz="742950" rtl="0" eaLnBrk="1" latinLnBrk="0" hangingPunct="1">
        <a:lnSpc>
          <a:spcPct val="90000"/>
        </a:lnSpc>
        <a:spcBef>
          <a:spcPts val="406"/>
        </a:spcBef>
        <a:buFont typeface="Arial"/>
        <a:buChar char="•"/>
        <a:defRPr sz="1463" b="0" i="0" kern="1200">
          <a:solidFill>
            <a:schemeClr val="tx1">
              <a:lumMod val="75000"/>
              <a:lumOff val="25000"/>
            </a:schemeClr>
          </a:solidFill>
          <a:latin typeface="Segoe UI" charset="0"/>
          <a:ea typeface="Segoe UI" charset="0"/>
          <a:cs typeface="Segoe UI" charset="0"/>
        </a:defRPr>
      </a:lvl5pPr>
      <a:lvl6pPr marL="2043113" indent="-185738" algn="l" defTabSz="742950" rtl="0" eaLnBrk="1" latinLnBrk="0" hangingPunct="1">
        <a:lnSpc>
          <a:spcPct val="90000"/>
        </a:lnSpc>
        <a:spcBef>
          <a:spcPts val="406"/>
        </a:spcBef>
        <a:buFont typeface="Arial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588" indent="-185738" algn="l" defTabSz="742950" rtl="0" eaLnBrk="1" latinLnBrk="0" hangingPunct="1">
        <a:lnSpc>
          <a:spcPct val="90000"/>
        </a:lnSpc>
        <a:spcBef>
          <a:spcPts val="406"/>
        </a:spcBef>
        <a:buFont typeface="Arial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063" indent="-185738" algn="l" defTabSz="742950" rtl="0" eaLnBrk="1" latinLnBrk="0" hangingPunct="1">
        <a:lnSpc>
          <a:spcPct val="90000"/>
        </a:lnSpc>
        <a:spcBef>
          <a:spcPts val="406"/>
        </a:spcBef>
        <a:buFont typeface="Arial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538" indent="-185738" algn="l" defTabSz="742950" rtl="0" eaLnBrk="1" latinLnBrk="0" hangingPunct="1">
        <a:lnSpc>
          <a:spcPct val="90000"/>
        </a:lnSpc>
        <a:spcBef>
          <a:spcPts val="406"/>
        </a:spcBef>
        <a:buFont typeface="Arial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pos="430" userDrawn="1">
          <p15:clr>
            <a:srgbClr val="F26B43"/>
          </p15:clr>
        </p15:guide>
        <p15:guide id="2" pos="5810" userDrawn="1">
          <p15:clr>
            <a:srgbClr val="F26B43"/>
          </p15:clr>
        </p15:guide>
        <p15:guide id="3" orient="horz" pos="1071" userDrawn="1">
          <p15:clr>
            <a:srgbClr val="F26B43"/>
          </p15:clr>
        </p15:guide>
        <p15:guide id="4" orient="horz" pos="3884" userDrawn="1">
          <p15:clr>
            <a:srgbClr val="F26B43"/>
          </p15:clr>
        </p15:guide>
        <p15:guide id="5" orient="horz" pos="1162" userDrawn="1">
          <p15:clr>
            <a:srgbClr val="F26B43"/>
          </p15:clr>
        </p15:guide>
        <p15:guide id="6" orient="horz" pos="232" userDrawn="1">
          <p15:clr>
            <a:srgbClr val="F26B43"/>
          </p15:clr>
        </p15:guide>
        <p15:guide id="7" orient="horz" pos="414" userDrawn="1">
          <p15:clr>
            <a:srgbClr val="F26B43"/>
          </p15:clr>
        </p15:guide>
        <p15:guide id="8" pos="706" userDrawn="1">
          <p15:clr>
            <a:srgbClr val="F26B43"/>
          </p15:clr>
        </p15:guide>
        <p15:guide id="9" pos="5589" userDrawn="1">
          <p15:clr>
            <a:srgbClr val="F26B43"/>
          </p15:clr>
        </p15:guide>
        <p15:guide id="10" orient="horz" pos="1366" userDrawn="1">
          <p15:clr>
            <a:srgbClr val="F26B43"/>
          </p15:clr>
        </p15:guide>
        <p15:guide id="11" orient="horz" pos="3521" userDrawn="1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477B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3B7715-8AC4-4DA0-97B4-7933D531181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FF39AB-B043-4145-9443-2A657DCFEAC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7881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477B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29" tIns="45715" rIns="91429" bIns="45715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29" tIns="45715" rIns="91429" bIns="45715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29" tIns="45715" rIns="91429" bIns="45715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290"/>
            <a:fld id="{BC3B7715-8AC4-4DA0-97B4-7933D531181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290"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29" tIns="45715" rIns="91429" bIns="45715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29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29" tIns="45715" rIns="91429" bIns="45715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290"/>
            <a:fld id="{C2FF39AB-B043-4145-9443-2A657DCFEAC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29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5492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</p:sldLayoutIdLst>
  <p:hf hdr="0" ftr="0" dt="0"/>
  <p:txStyles>
    <p:titleStyle>
      <a:lvl1pPr algn="ctr" defTabSz="91429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59" indent="-342859" algn="l" defTabSz="91429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61" indent="-285716" algn="l" defTabSz="91429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63" indent="-228573" algn="l" defTabSz="91429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08" indent="-228573" algn="l" defTabSz="91429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53" indent="-228573" algn="l" defTabSz="91429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298" indent="-228573" algn="l" defTabSz="91429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43" indent="-228573" algn="l" defTabSz="91429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89" indent="-228573" algn="l" defTabSz="91429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34" indent="-228573" algn="l" defTabSz="91429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8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779711822"/>
              </p:ext>
            </p:extLst>
          </p:nvPr>
        </p:nvGraphicFramePr>
        <p:xfrm>
          <a:off x="0" y="32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6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32"/>
                        <a:ext cx="158750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28"/>
          <p:cNvSpPr>
            <a:spLocks noChangeArrowheads="1"/>
          </p:cNvSpPr>
          <p:nvPr/>
        </p:nvSpPr>
        <p:spPr bwMode="auto">
          <a:xfrm>
            <a:off x="0" y="6642103"/>
            <a:ext cx="9144000" cy="215900"/>
          </a:xfrm>
          <a:prstGeom prst="rect">
            <a:avLst/>
          </a:prstGeom>
          <a:solidFill>
            <a:srgbClr val="5F606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822" tIns="71822" rIns="71822" bIns="71822" spcCol="0" rtlCol="0" anchor="ctr"/>
          <a:lstStyle/>
          <a:p>
            <a:pPr algn="ctr" defTabSz="912324"/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250825" y="716755"/>
            <a:ext cx="8640000" cy="50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ru-RU" smtClean="0"/>
              <a:t>Вывод слайда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8956070" y="6690975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912324"/>
            <a:fld id="{8088333F-969B-4E2E-A6DA-00108481B495}" type="slidenum">
              <a:rPr lang="ru-RU" sz="800" b="1" smtClean="0">
                <a:solidFill>
                  <a:srgbClr val="FFFFFF"/>
                </a:solidFill>
              </a:rPr>
              <a:pPr algn="r" defTabSz="912324"/>
              <a:t>‹#›</a:t>
            </a:fld>
            <a:endParaRPr lang="ru-RU" sz="800" b="1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17237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4" r:id="rId3"/>
    <p:sldLayoutId id="2147483665" r:id="rId4"/>
  </p:sldLayoutIdLst>
  <p:hf hdr="0" ftr="0"/>
  <p:txStyles>
    <p:titleStyle>
      <a:lvl1pPr algn="l" defTabSz="912324" rtl="0" eaLnBrk="1" latinLnBrk="0" hangingPunct="1">
        <a:spcBef>
          <a:spcPct val="0"/>
        </a:spcBef>
        <a:buNone/>
        <a:defRPr sz="18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2324" rtl="0" eaLnBrk="1" latinLnBrk="0" hangingPunct="1">
        <a:spcBef>
          <a:spcPts val="600"/>
        </a:spcBef>
        <a:buClr>
          <a:schemeClr val="tx2"/>
        </a:buClr>
        <a:buFont typeface="Arial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79597" indent="-179597" algn="l" defTabSz="912324" rtl="0" eaLnBrk="1" latinLnBrk="0" hangingPunct="1">
        <a:spcBef>
          <a:spcPts val="300"/>
        </a:spcBef>
        <a:buClr>
          <a:schemeClr val="tx2"/>
        </a:buClr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59185" indent="-179597" algn="l" defTabSz="912324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38777" indent="-179597" algn="l" defTabSz="912324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18372" indent="-179597" algn="l" defTabSz="912324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08886" indent="-228075" algn="l" defTabSz="91232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5045" indent="-228075" algn="l" defTabSz="91232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1207" indent="-228075" algn="l" defTabSz="91232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7369" indent="-228075" algn="l" defTabSz="91232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160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324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481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4646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0806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6972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3127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9288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88993638"/>
              </p:ext>
            </p:extLst>
          </p:nvPr>
        </p:nvGraphicFramePr>
        <p:xfrm>
          <a:off x="0" y="15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96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5"/>
                        <a:ext cx="158750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28"/>
          <p:cNvSpPr>
            <a:spLocks noChangeArrowheads="1"/>
          </p:cNvSpPr>
          <p:nvPr/>
        </p:nvSpPr>
        <p:spPr bwMode="auto">
          <a:xfrm>
            <a:off x="0" y="6642103"/>
            <a:ext cx="9144000" cy="215900"/>
          </a:xfrm>
          <a:prstGeom prst="rect">
            <a:avLst/>
          </a:prstGeom>
          <a:solidFill>
            <a:srgbClr val="5F606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46" tIns="71946" rIns="71946" bIns="71946" spcCol="0" rtlCol="0" anchor="ctr"/>
          <a:lstStyle/>
          <a:p>
            <a:pPr algn="ctr" defTabSz="913880"/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250825" y="716755"/>
            <a:ext cx="8640000" cy="50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ru-RU" smtClean="0"/>
              <a:t>Вывод слайда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8956070" y="6690953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913880"/>
            <a:fld id="{8088333F-969B-4E2E-A6DA-00108481B495}" type="slidenum">
              <a:rPr lang="ru-RU" sz="800" b="1" smtClean="0">
                <a:solidFill>
                  <a:srgbClr val="FFFFFF"/>
                </a:solidFill>
              </a:rPr>
              <a:pPr algn="r" defTabSz="913880"/>
              <a:t>‹#›</a:t>
            </a:fld>
            <a:endParaRPr lang="ru-RU" sz="800" b="1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2578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</p:sldLayoutIdLst>
  <p:hf hdr="0" ftr="0"/>
  <p:txStyles>
    <p:titleStyle>
      <a:lvl1pPr algn="l" defTabSz="913880" rtl="0" eaLnBrk="1" latinLnBrk="0" hangingPunct="1">
        <a:spcBef>
          <a:spcPct val="0"/>
        </a:spcBef>
        <a:buNone/>
        <a:defRPr sz="18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3880" rtl="0" eaLnBrk="1" latinLnBrk="0" hangingPunct="1">
        <a:spcBef>
          <a:spcPts val="600"/>
        </a:spcBef>
        <a:buClr>
          <a:schemeClr val="tx2"/>
        </a:buClr>
        <a:buFont typeface="Arial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79900" indent="-179900" algn="l" defTabSz="913880" rtl="0" eaLnBrk="1" latinLnBrk="0" hangingPunct="1">
        <a:spcBef>
          <a:spcPts val="300"/>
        </a:spcBef>
        <a:buClr>
          <a:schemeClr val="tx2"/>
        </a:buClr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59795" indent="-179900" algn="l" defTabSz="913880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39695" indent="-179900" algn="l" defTabSz="913880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19590" indent="-179900" algn="l" defTabSz="913880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170" indent="-228468" algn="l" defTabSz="91388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110" indent="-228468" algn="l" defTabSz="91388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050" indent="-228468" algn="l" defTabSz="91388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991" indent="-228468" algn="l" defTabSz="91388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41" algn="l" defTabSz="913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80" algn="l" defTabSz="913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20" algn="l" defTabSz="913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61" algn="l" defTabSz="913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00" algn="l" defTabSz="913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640" algn="l" defTabSz="913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580" algn="l" defTabSz="913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521" algn="l" defTabSz="913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8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418202230"/>
              </p:ext>
            </p:extLst>
          </p:nvPr>
        </p:nvGraphicFramePr>
        <p:xfrm>
          <a:off x="0" y="32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68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32"/>
                        <a:ext cx="158750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28"/>
          <p:cNvSpPr>
            <a:spLocks noChangeArrowheads="1"/>
          </p:cNvSpPr>
          <p:nvPr/>
        </p:nvSpPr>
        <p:spPr bwMode="auto">
          <a:xfrm>
            <a:off x="0" y="6642103"/>
            <a:ext cx="9144000" cy="215900"/>
          </a:xfrm>
          <a:prstGeom prst="rect">
            <a:avLst/>
          </a:prstGeom>
          <a:solidFill>
            <a:srgbClr val="5F606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822" tIns="71822" rIns="71822" bIns="71822" spcCol="0" rtlCol="0" anchor="ctr"/>
          <a:lstStyle/>
          <a:p>
            <a:pPr algn="ctr" defTabSz="912324"/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250825" y="716755"/>
            <a:ext cx="8640000" cy="50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ru-RU" smtClean="0"/>
              <a:t>Вывод слайда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8956070" y="6690967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912324"/>
            <a:fld id="{8088333F-969B-4E2E-A6DA-00108481B495}" type="slidenum">
              <a:rPr lang="ru-RU" sz="800" b="1" smtClean="0">
                <a:solidFill>
                  <a:srgbClr val="FFFFFF"/>
                </a:solidFill>
              </a:rPr>
              <a:pPr algn="r" defTabSz="912324"/>
              <a:t>‹#›</a:t>
            </a:fld>
            <a:endParaRPr lang="ru-RU" sz="800" b="1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0532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4" r:id="rId3"/>
    <p:sldLayoutId id="2147483675" r:id="rId4"/>
  </p:sldLayoutIdLst>
  <p:hf hdr="0" ftr="0"/>
  <p:txStyles>
    <p:titleStyle>
      <a:lvl1pPr algn="l" defTabSz="912324" rtl="0" eaLnBrk="1" latinLnBrk="0" hangingPunct="1">
        <a:spcBef>
          <a:spcPct val="0"/>
        </a:spcBef>
        <a:buNone/>
        <a:defRPr sz="18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2324" rtl="0" eaLnBrk="1" latinLnBrk="0" hangingPunct="1">
        <a:spcBef>
          <a:spcPts val="600"/>
        </a:spcBef>
        <a:buClr>
          <a:schemeClr val="tx2"/>
        </a:buClr>
        <a:buFont typeface="Arial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79597" indent="-179597" algn="l" defTabSz="912324" rtl="0" eaLnBrk="1" latinLnBrk="0" hangingPunct="1">
        <a:spcBef>
          <a:spcPts val="300"/>
        </a:spcBef>
        <a:buClr>
          <a:schemeClr val="tx2"/>
        </a:buClr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59185" indent="-179597" algn="l" defTabSz="912324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38777" indent="-179597" algn="l" defTabSz="912324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18372" indent="-179597" algn="l" defTabSz="912324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08886" indent="-228075" algn="l" defTabSz="91232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5045" indent="-228075" algn="l" defTabSz="91232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1207" indent="-228075" algn="l" defTabSz="91232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7369" indent="-228075" algn="l" defTabSz="91232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160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324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481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4646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0806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6972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3127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9288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175888949"/>
              </p:ext>
            </p:extLst>
          </p:nvPr>
        </p:nvGraphicFramePr>
        <p:xfrm>
          <a:off x="0" y="9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88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9"/>
                        <a:ext cx="158750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28"/>
          <p:cNvSpPr>
            <a:spLocks noChangeArrowheads="1"/>
          </p:cNvSpPr>
          <p:nvPr/>
        </p:nvSpPr>
        <p:spPr bwMode="auto">
          <a:xfrm>
            <a:off x="0" y="6642103"/>
            <a:ext cx="9144000" cy="215900"/>
          </a:xfrm>
          <a:prstGeom prst="rect">
            <a:avLst/>
          </a:prstGeom>
          <a:solidFill>
            <a:srgbClr val="5F606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340" tIns="61340" rIns="61340" bIns="61340" spcCol="0" rtlCol="0" anchor="ctr"/>
          <a:lstStyle/>
          <a:p>
            <a:pPr algn="ctr" defTabSz="779163"/>
            <a:endParaRPr lang="ru-RU" sz="1000">
              <a:solidFill>
                <a:srgbClr val="FFFFFF"/>
              </a:solidFill>
            </a:endParaRP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250825" y="716755"/>
            <a:ext cx="8640000" cy="50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ru-RU" smtClean="0"/>
              <a:t>Вывод слайда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8956070" y="6690937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779163"/>
            <a:fld id="{8088333F-969B-4E2E-A6DA-00108481B495}" type="slidenum">
              <a:rPr lang="ru-RU" sz="700" b="1" smtClean="0">
                <a:solidFill>
                  <a:srgbClr val="FFFFFF"/>
                </a:solidFill>
              </a:rPr>
              <a:pPr algn="r" defTabSz="779163"/>
              <a:t>‹#›</a:t>
            </a:fld>
            <a:endParaRPr lang="ru-RU" sz="700" b="1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25350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</p:sldLayoutIdLst>
  <p:hf hdr="0" ftr="0"/>
  <p:txStyles>
    <p:titleStyle>
      <a:lvl1pPr algn="l" defTabSz="779163" rtl="0" eaLnBrk="1" latinLnBrk="0" hangingPunct="1">
        <a:spcBef>
          <a:spcPct val="0"/>
        </a:spcBef>
        <a:buNone/>
        <a:defRPr sz="15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779163" rtl="0" eaLnBrk="1" latinLnBrk="0" hangingPunct="1">
        <a:spcBef>
          <a:spcPts val="511"/>
        </a:spcBef>
        <a:buClr>
          <a:schemeClr val="tx2"/>
        </a:buClr>
        <a:buFont typeface="Arial" pitchFamily="34" charset="0"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153379" indent="-153379" algn="l" defTabSz="779163" rtl="0" eaLnBrk="1" latinLnBrk="0" hangingPunct="1">
        <a:spcBef>
          <a:spcPts val="256"/>
        </a:spcBef>
        <a:buClr>
          <a:schemeClr val="tx2"/>
        </a:buClr>
        <a:buFont typeface="Wingdings" pitchFamily="2" charset="2"/>
        <a:buChar char="§"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306757" indent="-153379" algn="l" defTabSz="779163" rtl="0" eaLnBrk="1" latinLnBrk="0" hangingPunct="1">
        <a:spcBef>
          <a:spcPts val="256"/>
        </a:spcBef>
        <a:buClr>
          <a:schemeClr val="tx2"/>
        </a:buClr>
        <a:buFont typeface="Arial" pitchFamily="34" charset="0"/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460136" indent="-153379" algn="l" defTabSz="779163" rtl="0" eaLnBrk="1" latinLnBrk="0" hangingPunct="1">
        <a:spcBef>
          <a:spcPts val="256"/>
        </a:spcBef>
        <a:buClr>
          <a:schemeClr val="tx2"/>
        </a:buClr>
        <a:buFont typeface="Arial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613514" indent="-153379" algn="l" defTabSz="779163" rtl="0" eaLnBrk="1" latinLnBrk="0" hangingPunct="1">
        <a:spcBef>
          <a:spcPts val="256"/>
        </a:spcBef>
        <a:buClr>
          <a:schemeClr val="tx2"/>
        </a:buClr>
        <a:buFont typeface="Arial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142698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280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1861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443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8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163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745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326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908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489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071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65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139986167"/>
              </p:ext>
            </p:extLst>
          </p:nvPr>
        </p:nvGraphicFramePr>
        <p:xfrm>
          <a:off x="0" y="3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07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3"/>
                        <a:ext cx="158750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28"/>
          <p:cNvSpPr>
            <a:spLocks noChangeArrowheads="1"/>
          </p:cNvSpPr>
          <p:nvPr/>
        </p:nvSpPr>
        <p:spPr bwMode="auto">
          <a:xfrm>
            <a:off x="0" y="6642102"/>
            <a:ext cx="9144000" cy="215900"/>
          </a:xfrm>
          <a:prstGeom prst="rect">
            <a:avLst/>
          </a:prstGeom>
          <a:solidFill>
            <a:srgbClr val="5F606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340" tIns="61340" rIns="61340" bIns="61340" spcCol="0" rtlCol="0" anchor="ctr"/>
          <a:lstStyle/>
          <a:p>
            <a:pPr algn="ctr" defTabSz="779163"/>
            <a:endParaRPr lang="ru-RU" sz="1000">
              <a:solidFill>
                <a:srgbClr val="FFFFFF"/>
              </a:solidFill>
            </a:endParaRP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250825" y="716755"/>
            <a:ext cx="8640000" cy="50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ru-RU" smtClean="0"/>
              <a:t>Вывод слайда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8956070" y="6690930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779163"/>
            <a:fld id="{8088333F-969B-4E2E-A6DA-00108481B495}" type="slidenum">
              <a:rPr lang="ru-RU" sz="700" b="1" smtClean="0">
                <a:solidFill>
                  <a:srgbClr val="FFFFFF"/>
                </a:solidFill>
              </a:rPr>
              <a:pPr algn="r" defTabSz="779163"/>
              <a:t>‹#›</a:t>
            </a:fld>
            <a:endParaRPr lang="ru-RU" sz="700" b="1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13074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</p:sldLayoutIdLst>
  <p:hf hdr="0" ftr="0"/>
  <p:txStyles>
    <p:titleStyle>
      <a:lvl1pPr algn="l" defTabSz="779163" rtl="0" eaLnBrk="1" latinLnBrk="0" hangingPunct="1">
        <a:spcBef>
          <a:spcPct val="0"/>
        </a:spcBef>
        <a:buNone/>
        <a:defRPr sz="15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779163" rtl="0" eaLnBrk="1" latinLnBrk="0" hangingPunct="1">
        <a:spcBef>
          <a:spcPts val="511"/>
        </a:spcBef>
        <a:buClr>
          <a:schemeClr val="tx2"/>
        </a:buClr>
        <a:buFont typeface="Arial" pitchFamily="34" charset="0"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153379" indent="-153379" algn="l" defTabSz="779163" rtl="0" eaLnBrk="1" latinLnBrk="0" hangingPunct="1">
        <a:spcBef>
          <a:spcPts val="256"/>
        </a:spcBef>
        <a:buClr>
          <a:schemeClr val="tx2"/>
        </a:buClr>
        <a:buFont typeface="Wingdings" pitchFamily="2" charset="2"/>
        <a:buChar char="§"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306757" indent="-153379" algn="l" defTabSz="779163" rtl="0" eaLnBrk="1" latinLnBrk="0" hangingPunct="1">
        <a:spcBef>
          <a:spcPts val="256"/>
        </a:spcBef>
        <a:buClr>
          <a:schemeClr val="tx2"/>
        </a:buClr>
        <a:buFont typeface="Arial" pitchFamily="34" charset="0"/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460136" indent="-153379" algn="l" defTabSz="779163" rtl="0" eaLnBrk="1" latinLnBrk="0" hangingPunct="1">
        <a:spcBef>
          <a:spcPts val="256"/>
        </a:spcBef>
        <a:buClr>
          <a:schemeClr val="tx2"/>
        </a:buClr>
        <a:buFont typeface="Arial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613514" indent="-153379" algn="l" defTabSz="779163" rtl="0" eaLnBrk="1" latinLnBrk="0" hangingPunct="1">
        <a:spcBef>
          <a:spcPts val="256"/>
        </a:spcBef>
        <a:buClr>
          <a:schemeClr val="tx2"/>
        </a:buClr>
        <a:buFont typeface="Arial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142698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280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1861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443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8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163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745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326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908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489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071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65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5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6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124E32-D72C-473A-91D7-74F4121341E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68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6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3012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5A857F-D9B2-4949-B794-B77E4FA71B1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8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9A13D7-DA30-4126-B548-21EB459465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5415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2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5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6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124E32-D72C-473A-91D7-74F4121341E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68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6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80519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image" Target="../media/image17.gif"/><Relationship Id="rId1" Type="http://schemas.openxmlformats.org/officeDocument/2006/relationships/slideLayout" Target="../slideLayouts/slideLayout7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gif"/><Relationship Id="rId1" Type="http://schemas.openxmlformats.org/officeDocument/2006/relationships/slideLayout" Target="../slideLayouts/slideLayout7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image" Target="../media/image17.gif"/><Relationship Id="rId1" Type="http://schemas.openxmlformats.org/officeDocument/2006/relationships/slideLayout" Target="../slideLayouts/slideLayout7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gif"/><Relationship Id="rId1" Type="http://schemas.openxmlformats.org/officeDocument/2006/relationships/slideLayout" Target="../slideLayouts/slideLayout7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image" Target="../media/image17.gif"/><Relationship Id="rId1" Type="http://schemas.openxmlformats.org/officeDocument/2006/relationships/slideLayout" Target="../slideLayouts/slideLayout7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gif"/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7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image" Target="../media/image17.gif"/><Relationship Id="rId1" Type="http://schemas.openxmlformats.org/officeDocument/2006/relationships/slideLayout" Target="../slideLayouts/slideLayout7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5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gif"/><Relationship Id="rId1" Type="http://schemas.openxmlformats.org/officeDocument/2006/relationships/slideLayout" Target="../slideLayouts/slideLayout7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gif"/><Relationship Id="rId1" Type="http://schemas.openxmlformats.org/officeDocument/2006/relationships/slideLayout" Target="../slideLayouts/slideLayout7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gif"/><Relationship Id="rId1" Type="http://schemas.openxmlformats.org/officeDocument/2006/relationships/slideLayout" Target="../slideLayouts/slideLayout88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gif"/><Relationship Id="rId1" Type="http://schemas.openxmlformats.org/officeDocument/2006/relationships/slideLayout" Target="../slideLayouts/slideLayout88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gif"/><Relationship Id="rId1" Type="http://schemas.openxmlformats.org/officeDocument/2006/relationships/slideLayout" Target="../slideLayouts/slideLayout88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gif"/><Relationship Id="rId1" Type="http://schemas.openxmlformats.org/officeDocument/2006/relationships/slideLayout" Target="../slideLayouts/slideLayout88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39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3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0.xml"/><Relationship Id="rId4" Type="http://schemas.openxmlformats.org/officeDocument/2006/relationships/image" Target="../media/image25.jpe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0.xml"/><Relationship Id="rId4" Type="http://schemas.openxmlformats.org/officeDocument/2006/relationships/image" Target="../media/image26.jpe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0.xml"/><Relationship Id="rId4" Type="http://schemas.openxmlformats.org/officeDocument/2006/relationships/image" Target="../media/image27.jpe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0.xml"/><Relationship Id="rId4" Type="http://schemas.openxmlformats.org/officeDocument/2006/relationships/image" Target="../media/image29.jpe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0.xml"/><Relationship Id="rId5" Type="http://schemas.openxmlformats.org/officeDocument/2006/relationships/image" Target="../media/image31.jpeg"/><Relationship Id="rId4" Type="http://schemas.openxmlformats.org/officeDocument/2006/relationships/image" Target="../media/image30.jpe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0.xml"/><Relationship Id="rId6" Type="http://schemas.openxmlformats.org/officeDocument/2006/relationships/chart" Target="../charts/chart19.xml"/><Relationship Id="rId5" Type="http://schemas.openxmlformats.org/officeDocument/2006/relationships/chart" Target="../charts/chart18.xml"/><Relationship Id="rId4" Type="http://schemas.openxmlformats.org/officeDocument/2006/relationships/chart" Target="../charts/chart17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1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24.xml"/><Relationship Id="rId5" Type="http://schemas.openxmlformats.org/officeDocument/2006/relationships/chart" Target="../charts/chart23.xml"/><Relationship Id="rId4" Type="http://schemas.openxmlformats.org/officeDocument/2006/relationships/chart" Target="../charts/chart2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1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36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5.png"/><Relationship Id="rId5" Type="http://schemas.openxmlformats.org/officeDocument/2006/relationships/image" Target="../media/image34.jpeg"/><Relationship Id="rId4" Type="http://schemas.openxmlformats.org/officeDocument/2006/relationships/image" Target="../media/image33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7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7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7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375389" y="1916832"/>
            <a:ext cx="8105190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дикаторы экономики, градостроительной и жилищной сферы российских и зарубежных городских агломераций. Территориальное планирование и градостроительное зонирование как инструмент социально-экономического развития городов и </a:t>
            </a:r>
            <a:r>
              <a:rPr lang="ru-RU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ломераций</a:t>
            </a:r>
          </a:p>
          <a:p>
            <a:pPr algn="ctr"/>
            <a:endParaRPr lang="ru-RU" b="1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400" i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Проект выполнен за счет средств Целевого капитала ИЭГ в 2019 г., также используются материалы работ, выполненных по заказу ЦСР и ДОМ.РФ в 2018 г.)</a:t>
            </a:r>
          </a:p>
          <a:p>
            <a:pPr algn="ctr"/>
            <a:endParaRPr lang="en-US" sz="2000" b="1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тьяна Полиди</a:t>
            </a:r>
          </a:p>
          <a:p>
            <a:pPr algn="ctr"/>
            <a:r>
              <a:rPr lang="ru-RU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полнительный директор Фонда «Институт экономики города»</a:t>
            </a:r>
          </a:p>
          <a:p>
            <a:pPr algn="ctr"/>
            <a:endParaRPr lang="ru-RU" sz="20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3203848" y="116632"/>
            <a:ext cx="5760640" cy="1464947"/>
            <a:chOff x="3203848" y="116632"/>
            <a:chExt cx="5760640" cy="1464947"/>
          </a:xfrm>
        </p:grpSpPr>
        <p:grpSp>
          <p:nvGrpSpPr>
            <p:cNvPr id="5" name="Группа 4"/>
            <p:cNvGrpSpPr/>
            <p:nvPr/>
          </p:nvGrpSpPr>
          <p:grpSpPr>
            <a:xfrm>
              <a:off x="3203848" y="116632"/>
              <a:ext cx="5688632" cy="1464947"/>
              <a:chOff x="3203848" y="116632"/>
              <a:chExt cx="5688632" cy="1464945"/>
            </a:xfrm>
          </p:grpSpPr>
          <p:pic>
            <p:nvPicPr>
              <p:cNvPr id="6" name="Picture 5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27984" y="116632"/>
                <a:ext cx="3672408" cy="14649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9" name="TextBox 8"/>
              <p:cNvSpPr txBox="1"/>
              <p:nvPr/>
            </p:nvSpPr>
            <p:spPr>
              <a:xfrm>
                <a:off x="3203848" y="187384"/>
                <a:ext cx="5688632" cy="9233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2000" b="1" dirty="0" smtClean="0">
                    <a:solidFill>
                      <a:srgbClr val="FFC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НАЗВАНИЕ </a:t>
                </a:r>
              </a:p>
              <a:p>
                <a:pPr algn="ctr"/>
                <a:r>
                  <a:rPr lang="ru-RU" sz="2000" b="1" dirty="0" smtClean="0">
                    <a:solidFill>
                      <a:srgbClr val="FFC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МЕРОПРИЯТИЯ</a:t>
                </a:r>
              </a:p>
              <a:p>
                <a:pPr algn="ctr"/>
                <a:r>
                  <a:rPr lang="ru-RU" sz="1400" b="1" dirty="0" smtClean="0">
                    <a:solidFill>
                      <a:srgbClr val="FFC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ДАТА, ГОРОД </a:t>
                </a:r>
                <a:endParaRPr lang="ru-RU" sz="14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0" name="Группа 9"/>
            <p:cNvGrpSpPr/>
            <p:nvPr/>
          </p:nvGrpSpPr>
          <p:grpSpPr>
            <a:xfrm>
              <a:off x="3275856" y="116632"/>
              <a:ext cx="5688632" cy="1464947"/>
              <a:chOff x="3203848" y="116632"/>
              <a:chExt cx="5688632" cy="1464945"/>
            </a:xfrm>
          </p:grpSpPr>
          <p:pic>
            <p:nvPicPr>
              <p:cNvPr id="11" name="Picture 5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27984" y="116632"/>
                <a:ext cx="3672408" cy="14649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2" name="TextBox 11"/>
              <p:cNvSpPr txBox="1"/>
              <p:nvPr/>
            </p:nvSpPr>
            <p:spPr>
              <a:xfrm>
                <a:off x="3203848" y="387440"/>
                <a:ext cx="5688632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endParaRPr lang="ru-RU" sz="1400" b="1" dirty="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3" name="TextBox 2"/>
          <p:cNvSpPr txBox="1"/>
          <p:nvPr/>
        </p:nvSpPr>
        <p:spPr>
          <a:xfrm>
            <a:off x="3563892" y="387445"/>
            <a:ext cx="52565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</a:rPr>
              <a:t>Миссия: содействие социально-экономическому развитию  городов и регионов</a:t>
            </a:r>
            <a:endParaRPr lang="ru-RU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7084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1695" y="562387"/>
            <a:ext cx="8118217" cy="1033200"/>
          </a:xfrm>
        </p:spPr>
        <p:txBody>
          <a:bodyPr>
            <a:normAutofit/>
          </a:bodyPr>
          <a:lstStyle/>
          <a:p>
            <a:r>
              <a:rPr lang="ru-RU" dirty="0" smtClean="0"/>
              <a:t>результаты </a:t>
            </a:r>
            <a:r>
              <a:rPr lang="ru-RU" dirty="0"/>
              <a:t>оценки структуры </a:t>
            </a:r>
            <a:r>
              <a:rPr lang="ru-RU" dirty="0" smtClean="0"/>
              <a:t>ВГП 45 агломераций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B281E-F444-1144-B042-5FE9A7BB944A}" type="slidenum">
              <a:rPr lang="ru-RU" smtClean="0">
                <a:gradFill>
                  <a:gsLst>
                    <a:gs pos="0">
                      <a:srgbClr val="002060"/>
                    </a:gs>
                    <a:gs pos="100000">
                      <a:srgbClr val="5B9BD5">
                        <a:lumMod val="75000"/>
                      </a:srgbClr>
                    </a:gs>
                  </a:gsLst>
                  <a:path path="circle">
                    <a:fillToRect t="100000" r="100000"/>
                  </a:path>
                </a:gradFill>
              </a:rPr>
              <a:pPr/>
              <a:t>10</a:t>
            </a:fld>
            <a:endParaRPr lang="ru-RU">
              <a:gradFill>
                <a:gsLst>
                  <a:gs pos="0">
                    <a:srgbClr val="002060"/>
                  </a:gs>
                  <a:gs pos="100000">
                    <a:srgbClr val="5B9BD5">
                      <a:lumMod val="75000"/>
                    </a:srgbClr>
                  </a:gs>
                </a:gsLst>
                <a:path path="circle">
                  <a:fillToRect t="100000" r="100000"/>
                </a:path>
              </a:gra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177699" y="1407602"/>
            <a:ext cx="880620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тношение </a:t>
            </a:r>
            <a:r>
              <a:rPr lang="ru-RU" sz="1400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ДС к ВГП по группам агломераций за 2016 год, (оранжевым цветом выделены средневзвешенные значения, превышающие значения ВВП, </a:t>
            </a:r>
            <a:r>
              <a:rPr lang="ru-RU" sz="1400" b="1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зеленым </a:t>
            </a:r>
            <a:r>
              <a:rPr lang="ru-RU" sz="1400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– ниже ВВП), %  </a:t>
            </a:r>
            <a:endParaRPr lang="ru-RU" sz="1400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sz="1400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E60ADBB6-067F-4B88-8AE0-D4FD08E5C2BC}"/>
              </a:ext>
            </a:extLst>
          </p:cNvPr>
          <p:cNvSpPr/>
          <p:nvPr/>
        </p:nvSpPr>
        <p:spPr>
          <a:xfrm>
            <a:off x="3829050" y="6207119"/>
            <a:ext cx="4572000" cy="553998"/>
          </a:xfrm>
          <a:prstGeom prst="rect">
            <a:avLst/>
          </a:prstGeom>
        </p:spPr>
        <p:txBody>
          <a:bodyPr>
            <a:spAutoFit/>
          </a:bodyPr>
          <a:lstStyle/>
          <a:p>
            <a:pPr indent="450215" algn="just">
              <a:lnSpc>
                <a:spcPct val="150000"/>
              </a:lnSpc>
            </a:pPr>
            <a:r>
              <a:rPr lang="ru-RU" sz="1000" dirty="0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Источник: расчеты Фонда «Институт экономики города» по данным Росстата</a:t>
            </a:r>
            <a:endParaRPr lang="ru-RU" sz="900" dirty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4771056"/>
              </p:ext>
            </p:extLst>
          </p:nvPr>
        </p:nvGraphicFramePr>
        <p:xfrm>
          <a:off x="340149" y="2047169"/>
          <a:ext cx="8406723" cy="4139039"/>
        </p:xfrm>
        <a:graphic>
          <a:graphicData uri="http://schemas.openxmlformats.org/drawingml/2006/table">
            <a:tbl>
              <a:tblPr firstRow="1" firstCol="1" bandRow="1"/>
              <a:tblGrid>
                <a:gridCol w="2406205"/>
                <a:gridCol w="1007835"/>
                <a:gridCol w="1234597"/>
                <a:gridCol w="1383084"/>
                <a:gridCol w="1213444"/>
                <a:gridCol w="1161558"/>
              </a:tblGrid>
              <a:tr h="45258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Отрасль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∑</a:t>
                      </a: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ВДС РФ/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∑ВВП РФ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∑</a:t>
                      </a: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ВДС 43 </a:t>
                      </a:r>
                      <a:r>
                        <a:rPr lang="ru-RU" sz="1000" dirty="0" err="1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агл</a:t>
                      </a: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./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∑ВГП 43 </a:t>
                      </a:r>
                      <a:r>
                        <a:rPr lang="ru-RU" sz="1000" dirty="0" err="1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агл</a:t>
                      </a: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.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∑</a:t>
                      </a: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ВДС группы</a:t>
                      </a:r>
                      <a:r>
                        <a:rPr lang="ru-RU" sz="1000" baseline="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 А</a:t>
                      </a: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/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∑ВГП группы А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∑</a:t>
                      </a: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ВДС группы</a:t>
                      </a:r>
                      <a:r>
                        <a:rPr lang="ru-RU" sz="1000" baseline="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 В</a:t>
                      </a: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/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∑ВГП группы В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∑</a:t>
                      </a: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ВДС группы С/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∑ВГП группы С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7146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A </a:t>
                      </a: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Сельское хозяйство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4,02</a:t>
                      </a:r>
                      <a:endParaRPr lang="ru-RU" sz="100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0,66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0,35</a:t>
                      </a:r>
                      <a:endParaRPr lang="ru-RU" sz="100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1,23</a:t>
                      </a:r>
                      <a:endParaRPr lang="ru-RU" sz="100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0,89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</a:tr>
              <a:tr h="157146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B </a:t>
                      </a: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Рыболовство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0,25</a:t>
                      </a:r>
                      <a:endParaRPr lang="ru-RU" sz="100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0,14</a:t>
                      </a:r>
                      <a:endParaRPr lang="ru-RU" sz="100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0,07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0,32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-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</a:tr>
              <a:tr h="301721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C </a:t>
                      </a: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Добыча </a:t>
                      </a: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полезных ископаемых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8,48</a:t>
                      </a:r>
                      <a:endParaRPr lang="ru-RU" sz="100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2,19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0,21</a:t>
                      </a:r>
                      <a:endParaRPr lang="ru-RU" sz="100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1,63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21,99</a:t>
                      </a:r>
                      <a:endParaRPr lang="ru-RU" sz="100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301721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D </a:t>
                      </a: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Обрабатывающие </a:t>
                      </a: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производства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12,36</a:t>
                      </a:r>
                      <a:endParaRPr lang="ru-RU" sz="100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14,53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11,00</a:t>
                      </a:r>
                      <a:endParaRPr lang="ru-RU" sz="100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20,59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19,94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452581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E </a:t>
                      </a: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Производство </a:t>
                      </a: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и распределение электроэнергии газа и воды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2,81</a:t>
                      </a:r>
                      <a:endParaRPr lang="ru-RU" sz="100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3,75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2,96</a:t>
                      </a:r>
                      <a:endParaRPr lang="ru-RU" sz="100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4,98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5,56</a:t>
                      </a:r>
                      <a:endParaRPr lang="ru-RU" sz="100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157146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F </a:t>
                      </a: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Строительство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5,56</a:t>
                      </a:r>
                      <a:endParaRPr lang="ru-RU" sz="100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3,33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3,31</a:t>
                      </a:r>
                      <a:endParaRPr lang="ru-RU" sz="100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2,91</a:t>
                      </a:r>
                      <a:endParaRPr lang="ru-RU" sz="100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5,30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301721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G </a:t>
                      </a: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Оптовая </a:t>
                      </a: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и розничная торговля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14,40</a:t>
                      </a:r>
                      <a:endParaRPr lang="ru-RU" sz="100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10,08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12,32</a:t>
                      </a:r>
                      <a:endParaRPr lang="ru-RU" sz="100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6,91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3,82</a:t>
                      </a:r>
                      <a:endParaRPr lang="ru-RU" sz="100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</a:tr>
              <a:tr h="157146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H </a:t>
                      </a: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Гостиницы </a:t>
                      </a: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и рестораны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0,75</a:t>
                      </a:r>
                      <a:endParaRPr lang="ru-RU" sz="100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0,87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1,04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0,57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0,71</a:t>
                      </a:r>
                      <a:endParaRPr lang="ru-RU" sz="100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</a:tr>
              <a:tr h="157146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I </a:t>
                      </a: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Транспорт </a:t>
                      </a: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и связь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7,05</a:t>
                      </a:r>
                      <a:endParaRPr lang="ru-RU" sz="100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9,41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9,14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10,10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8,93</a:t>
                      </a:r>
                      <a:endParaRPr lang="ru-RU" sz="100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157146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J </a:t>
                      </a: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Финансовая </a:t>
                      </a: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деятельность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4,02</a:t>
                      </a:r>
                      <a:endParaRPr lang="ru-RU" sz="100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8,64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11,07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5,22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1,77</a:t>
                      </a:r>
                      <a:endParaRPr lang="ru-RU" sz="100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</a:tr>
              <a:tr h="301721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K </a:t>
                      </a: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Операции </a:t>
                      </a: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с недвижимым </a:t>
                      </a: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имуществом, прочие услуги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15,47</a:t>
                      </a:r>
                      <a:endParaRPr lang="ru-RU" sz="100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16,07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20,63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9,03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5,77</a:t>
                      </a:r>
                      <a:endParaRPr lang="ru-RU" sz="100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</a:tr>
              <a:tr h="301721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L </a:t>
                      </a: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Гос</a:t>
                      </a: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. управление и обеспечение безопасности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7,09</a:t>
                      </a:r>
                      <a:endParaRPr lang="ru-RU" sz="100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8,60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6,91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12,71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6,05</a:t>
                      </a:r>
                      <a:endParaRPr lang="ru-RU" sz="100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</a:tr>
              <a:tr h="157146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M </a:t>
                      </a: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Образование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2,34</a:t>
                      </a:r>
                      <a:endParaRPr lang="ru-RU" sz="100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4,56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4,34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5,10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4,21</a:t>
                      </a:r>
                      <a:endParaRPr lang="ru-RU" sz="100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157146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N </a:t>
                      </a: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Здравоохранение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3,39</a:t>
                      </a:r>
                      <a:endParaRPr lang="ru-RU" sz="100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4,09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3,84</a:t>
                      </a:r>
                      <a:endParaRPr lang="ru-RU" sz="100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4,63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3,90</a:t>
                      </a:r>
                      <a:endParaRPr lang="ru-RU" sz="100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301721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O </a:t>
                      </a: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Предоставление </a:t>
                      </a: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прочих коммунальных услуг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1,55</a:t>
                      </a:r>
                      <a:endParaRPr lang="ru-RU" sz="100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1,96</a:t>
                      </a:r>
                      <a:endParaRPr lang="ru-RU" sz="100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2,21</a:t>
                      </a:r>
                      <a:endParaRPr lang="ru-RU" sz="100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1,63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1,08</a:t>
                      </a:r>
                      <a:endParaRPr lang="ru-RU" sz="100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157146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Сумма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90,08</a:t>
                      </a:r>
                      <a:endParaRPr lang="ru-RU" sz="100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88,88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89,39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87,57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Calibri"/>
                          <a:cs typeface="Segoe UI" panose="020B0502040204020203" pitchFamily="34" charset="0"/>
                        </a:rPr>
                        <a:t>89,94</a:t>
                      </a:r>
                      <a:endParaRPr lang="ru-RU" sz="1000" dirty="0">
                        <a:effectLst/>
                        <a:latin typeface="Segoe UI" panose="020B0502040204020203" pitchFamily="34" charset="0"/>
                        <a:ea typeface="Calibri"/>
                        <a:cs typeface="Segoe UI" panose="020B0502040204020203" pitchFamily="34" charset="0"/>
                      </a:endParaRPr>
                    </a:p>
                  </a:txBody>
                  <a:tcPr marL="55022" marR="550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87978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B281E-F444-1144-B042-5FE9A7BB944A}" type="slidenum">
              <a:rPr lang="ru-RU" smtClean="0">
                <a:gradFill>
                  <a:gsLst>
                    <a:gs pos="0">
                      <a:srgbClr val="002060"/>
                    </a:gs>
                    <a:gs pos="100000">
                      <a:srgbClr val="5B9BD5">
                        <a:lumMod val="75000"/>
                      </a:srgbClr>
                    </a:gs>
                  </a:gsLst>
                  <a:path path="circle">
                    <a:fillToRect t="100000" r="100000"/>
                  </a:path>
                </a:gradFill>
              </a:rPr>
              <a:pPr/>
              <a:t>11</a:t>
            </a:fld>
            <a:endParaRPr lang="ru-RU">
              <a:gradFill>
                <a:gsLst>
                  <a:gs pos="0">
                    <a:srgbClr val="002060"/>
                  </a:gs>
                  <a:gs pos="100000">
                    <a:srgbClr val="5B9BD5">
                      <a:lumMod val="75000"/>
                    </a:srgbClr>
                  </a:gs>
                </a:gsLst>
                <a:path path="circle">
                  <a:fillToRect t="100000" r="100000"/>
                </a:path>
              </a:gradFill>
            </a:endParaRPr>
          </a:p>
        </p:txBody>
      </p:sp>
      <p:sp>
        <p:nvSpPr>
          <p:cNvPr id="9" name="Объект 2"/>
          <p:cNvSpPr>
            <a:spLocks noGrp="1"/>
          </p:cNvSpPr>
          <p:nvPr>
            <p:ph idx="1"/>
          </p:nvPr>
        </p:nvSpPr>
        <p:spPr>
          <a:xfrm>
            <a:off x="628651" y="1740565"/>
            <a:ext cx="8082347" cy="4351338"/>
          </a:xfrm>
        </p:spPr>
        <p:txBody>
          <a:bodyPr>
            <a:noAutofit/>
          </a:bodyPr>
          <a:lstStyle/>
          <a:p>
            <a:r>
              <a:rPr lang="ru-RU" sz="1700" dirty="0" smtClean="0"/>
              <a:t>В 2018 году Фондом «Институтом экономики города» разработана </a:t>
            </a:r>
            <a:r>
              <a:rPr lang="ru-RU" sz="1700" dirty="0"/>
              <a:t>методика </a:t>
            </a:r>
            <a:r>
              <a:rPr lang="ru-RU" sz="1700" dirty="0" err="1" smtClean="0"/>
              <a:t>типологизации</a:t>
            </a:r>
            <a:r>
              <a:rPr lang="ru-RU" sz="1700" dirty="0" smtClean="0"/>
              <a:t> городов и городских агломераций </a:t>
            </a:r>
            <a:r>
              <a:rPr lang="ru-RU" sz="1700" dirty="0"/>
              <a:t>по уровню экономического развития и потенциалу структурных сдвигов в </a:t>
            </a:r>
            <a:r>
              <a:rPr lang="ru-RU" sz="1700" dirty="0" smtClean="0"/>
              <a:t>экономике. В настоящем исследовании представлены результаты применения методики в отношении 4</a:t>
            </a:r>
            <a:r>
              <a:rPr lang="en-US" sz="1700" dirty="0" smtClean="0"/>
              <a:t>5</a:t>
            </a:r>
            <a:r>
              <a:rPr lang="ru-RU" sz="1700" dirty="0" smtClean="0"/>
              <a:t> агломераций по данным на 2016 год.</a:t>
            </a:r>
          </a:p>
          <a:p>
            <a:r>
              <a:rPr lang="ru-RU" sz="1700" dirty="0" smtClean="0"/>
              <a:t>Методика исходит из базовых допущений:</a:t>
            </a:r>
          </a:p>
          <a:p>
            <a:pPr marL="0" indent="0">
              <a:buNone/>
            </a:pPr>
            <a:r>
              <a:rPr lang="ru-RU" sz="1700" dirty="0" smtClean="0"/>
              <a:t>	1) </a:t>
            </a:r>
            <a:r>
              <a:rPr lang="ru-RU" sz="1700" dirty="0"/>
              <a:t>определить некую </a:t>
            </a:r>
            <a:r>
              <a:rPr lang="ru-RU" sz="1700" dirty="0" smtClean="0"/>
              <a:t>эталонную (целевую) </a:t>
            </a:r>
            <a:r>
              <a:rPr lang="ru-RU" sz="1700" dirty="0"/>
              <a:t>структуру городской экономики, которая позволила бы продуцировать экономический рост, ни теоретически, ни практически нельзя. </a:t>
            </a:r>
            <a:r>
              <a:rPr lang="ru-RU" sz="1700" dirty="0" smtClean="0"/>
              <a:t>Наоборот</a:t>
            </a:r>
            <a:r>
              <a:rPr lang="ru-RU" sz="1700" dirty="0"/>
              <a:t>, структура экономики меняется вслед за спонтанным появлением </a:t>
            </a:r>
            <a:r>
              <a:rPr lang="ru-RU" sz="1700" dirty="0" smtClean="0"/>
              <a:t>инноваций</a:t>
            </a:r>
            <a:endParaRPr lang="ru-RU" sz="1700" dirty="0"/>
          </a:p>
          <a:p>
            <a:pPr marL="0" indent="0">
              <a:spcBef>
                <a:spcPts val="0"/>
              </a:spcBef>
              <a:buNone/>
            </a:pPr>
            <a:r>
              <a:rPr lang="ru-RU" sz="1700" dirty="0" smtClean="0"/>
              <a:t>	2) эталонная структура </a:t>
            </a:r>
            <a:r>
              <a:rPr lang="ru-RU" sz="1700" dirty="0"/>
              <a:t>современной городской экономики - </a:t>
            </a:r>
            <a:r>
              <a:rPr lang="ru-RU" sz="1700" dirty="0" smtClean="0"/>
              <a:t>это диверсифицированная экономика </a:t>
            </a:r>
            <a:r>
              <a:rPr lang="ru-RU" sz="1700" dirty="0"/>
              <a:t>без отраслей, основанных на добыче ресурсов </a:t>
            </a:r>
            <a:r>
              <a:rPr lang="ru-RU" sz="1700" dirty="0" smtClean="0"/>
              <a:t>(баланс </a:t>
            </a:r>
            <a:r>
              <a:rPr lang="ru-RU" sz="1700" dirty="0"/>
              <a:t>между частным и государственным сектором и относительно равномерное распределение ВГП по отраслям этих секторов</a:t>
            </a:r>
            <a:r>
              <a:rPr lang="ru-RU" sz="1700" dirty="0" smtClean="0"/>
              <a:t>)</a:t>
            </a:r>
            <a:endParaRPr lang="ru-RU" sz="1700" dirty="0"/>
          </a:p>
          <a:p>
            <a:pPr marL="0" indent="0">
              <a:spcBef>
                <a:spcPts val="0"/>
              </a:spcBef>
              <a:buNone/>
            </a:pPr>
            <a:r>
              <a:rPr lang="ru-RU" sz="1700" dirty="0" smtClean="0"/>
              <a:t>	3</a:t>
            </a:r>
            <a:r>
              <a:rPr lang="ru-RU" sz="1700" dirty="0"/>
              <a:t>) гипотеза о том, что так как наиболее развитые мировые города характеризуются именно </a:t>
            </a:r>
            <a:r>
              <a:rPr lang="ru-RU" sz="1700" dirty="0" smtClean="0"/>
              <a:t>эталонной </a:t>
            </a:r>
            <a:r>
              <a:rPr lang="ru-RU" sz="1700" dirty="0"/>
              <a:t>структурой экономики, то она обладает относительно большим потенциалом для экономического </a:t>
            </a:r>
            <a:r>
              <a:rPr lang="ru-RU" sz="1700" dirty="0" smtClean="0"/>
              <a:t>роста (либо является следствием экономического роста, признаком развитости)</a:t>
            </a:r>
            <a:endParaRPr lang="ru-RU" sz="17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7704517" y="657922"/>
            <a:ext cx="1099243" cy="11283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3820" y="595653"/>
            <a:ext cx="8238936" cy="1033200"/>
          </a:xfrm>
        </p:spPr>
        <p:txBody>
          <a:bodyPr>
            <a:noAutofit/>
          </a:bodyPr>
          <a:lstStyle/>
          <a:p>
            <a:r>
              <a:rPr lang="ru-RU" sz="2400" dirty="0"/>
              <a:t>Типология исследуемых агломераций по уровню экономического развития и потенциалу структурных сдвигов в экономике</a:t>
            </a:r>
          </a:p>
        </p:txBody>
      </p:sp>
    </p:spTree>
    <p:extLst>
      <p:ext uri="{BB962C8B-B14F-4D97-AF65-F5344CB8AC3E}">
        <p14:creationId xmlns:p14="http://schemas.microsoft.com/office/powerpoint/2010/main" val="2494003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B281E-F444-1144-B042-5FE9A7BB944A}" type="slidenum">
              <a:rPr lang="ru-RU" smtClean="0">
                <a:gradFill>
                  <a:gsLst>
                    <a:gs pos="0">
                      <a:srgbClr val="002060"/>
                    </a:gs>
                    <a:gs pos="100000">
                      <a:srgbClr val="5B9BD5">
                        <a:lumMod val="75000"/>
                      </a:srgbClr>
                    </a:gs>
                  </a:gsLst>
                  <a:path path="circle">
                    <a:fillToRect t="100000" r="100000"/>
                  </a:path>
                </a:gradFill>
              </a:rPr>
              <a:pPr/>
              <a:t>12</a:t>
            </a:fld>
            <a:endParaRPr lang="ru-RU">
              <a:gradFill>
                <a:gsLst>
                  <a:gs pos="0">
                    <a:srgbClr val="002060"/>
                  </a:gs>
                  <a:gs pos="100000">
                    <a:srgbClr val="5B9BD5">
                      <a:lumMod val="75000"/>
                    </a:srgbClr>
                  </a:gs>
                </a:gsLst>
                <a:path path="circle">
                  <a:fillToRect t="100000" r="100000"/>
                </a:path>
              </a:gradFill>
            </a:endParaRPr>
          </a:p>
        </p:txBody>
      </p:sp>
      <p:sp>
        <p:nvSpPr>
          <p:cNvPr id="9" name="Объект 2"/>
          <p:cNvSpPr>
            <a:spLocks noGrp="1"/>
          </p:cNvSpPr>
          <p:nvPr>
            <p:ph idx="1"/>
          </p:nvPr>
        </p:nvSpPr>
        <p:spPr>
          <a:xfrm>
            <a:off x="343518" y="1628853"/>
            <a:ext cx="5103071" cy="4727501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endParaRPr lang="en-US" sz="1800" dirty="0">
              <a:solidFill>
                <a:schemeClr val="accent1">
                  <a:lumMod val="75000"/>
                </a:schemeClr>
              </a:solidFill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ru-RU" sz="1800" b="1" dirty="0" smtClean="0">
                <a:solidFill>
                  <a:schemeClr val="accent1">
                    <a:lumMod val="75000"/>
                  </a:schemeClr>
                </a:solidFill>
              </a:rPr>
              <a:t>Отрасли первого эшелона</a:t>
            </a:r>
            <a:r>
              <a:rPr lang="ru-RU" sz="1800" dirty="0" smtClean="0">
                <a:solidFill>
                  <a:schemeClr val="accent1">
                    <a:lumMod val="75000"/>
                  </a:schemeClr>
                </a:solidFill>
              </a:rPr>
              <a:t>, </a:t>
            </a:r>
            <a:r>
              <a:rPr lang="ru-RU" sz="1800" dirty="0" smtClean="0"/>
              <a:t>характерные для экономик крупных городских агломераций, представляющие наибольший потенциал с точки зрения экономического роста : </a:t>
            </a:r>
          </a:p>
          <a:p>
            <a:pPr marL="0" indent="0">
              <a:spcBef>
                <a:spcPts val="0"/>
              </a:spcBef>
              <a:buNone/>
            </a:pPr>
            <a:endParaRPr lang="en-US" sz="1800" dirty="0" smtClean="0"/>
          </a:p>
          <a:p>
            <a:pPr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ru-RU" sz="1800" dirty="0" smtClean="0"/>
              <a:t>обрабатывающие производства </a:t>
            </a:r>
            <a:r>
              <a:rPr lang="ru-RU" sz="1800" b="1" dirty="0" smtClean="0"/>
              <a:t>(</a:t>
            </a:r>
            <a:r>
              <a:rPr lang="en-US" sz="1800" b="1" dirty="0" smtClean="0"/>
              <a:t>D</a:t>
            </a:r>
            <a:r>
              <a:rPr lang="ru-RU" sz="1800" b="1" dirty="0" smtClean="0"/>
              <a:t>)</a:t>
            </a:r>
            <a:endParaRPr lang="ru-RU" sz="1800" dirty="0" smtClean="0"/>
          </a:p>
          <a:p>
            <a:pPr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ru-RU" sz="1800" dirty="0"/>
              <a:t>ф</a:t>
            </a:r>
            <a:r>
              <a:rPr lang="ru-RU" sz="1800" dirty="0" smtClean="0"/>
              <a:t>инансовая деятельность </a:t>
            </a:r>
            <a:r>
              <a:rPr lang="ru-RU" sz="1800" b="1" dirty="0" smtClean="0"/>
              <a:t>(</a:t>
            </a:r>
            <a:r>
              <a:rPr lang="en-US" sz="1800" b="1" dirty="0" smtClean="0"/>
              <a:t>J</a:t>
            </a:r>
            <a:r>
              <a:rPr lang="ru-RU" sz="1800" b="1" dirty="0" smtClean="0"/>
              <a:t>)</a:t>
            </a:r>
            <a:endParaRPr lang="ru-RU" sz="1800" dirty="0" smtClean="0"/>
          </a:p>
          <a:p>
            <a:pPr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ru-RU" sz="1800" dirty="0"/>
              <a:t>о</a:t>
            </a:r>
            <a:r>
              <a:rPr lang="ru-RU" sz="1800" dirty="0" smtClean="0"/>
              <a:t>перации с недвижимым имуществом, аренда и предоставление услуг </a:t>
            </a:r>
            <a:r>
              <a:rPr lang="ru-RU" sz="1800" b="1" dirty="0" smtClean="0"/>
              <a:t>(</a:t>
            </a:r>
            <a:r>
              <a:rPr lang="en-US" sz="1800" b="1" dirty="0" smtClean="0"/>
              <a:t>K</a:t>
            </a:r>
            <a:r>
              <a:rPr lang="ru-RU" sz="1800" b="1" dirty="0" smtClean="0"/>
              <a:t>)</a:t>
            </a:r>
            <a:r>
              <a:rPr lang="ru-RU" sz="1800" dirty="0" smtClean="0"/>
              <a:t> </a:t>
            </a:r>
            <a:r>
              <a:rPr lang="ru-RU" sz="1700" i="1" dirty="0" smtClean="0">
                <a:solidFill>
                  <a:srgbClr val="FF0000"/>
                </a:solidFill>
              </a:rPr>
              <a:t>(в такие прочие услуги входят научные разработки в сферах естественных, гуманитарных и технических наук, услуги в сфере </a:t>
            </a:r>
            <a:r>
              <a:rPr lang="en-US" sz="1700" i="1" dirty="0" smtClean="0">
                <a:solidFill>
                  <a:srgbClr val="FF0000"/>
                </a:solidFill>
              </a:rPr>
              <a:t>IT</a:t>
            </a:r>
            <a:r>
              <a:rPr lang="ru-RU" sz="1700" i="1" dirty="0" smtClean="0">
                <a:solidFill>
                  <a:srgbClr val="FF0000"/>
                </a:solidFill>
              </a:rPr>
              <a:t>, другие интеллектуальные услуги)</a:t>
            </a:r>
          </a:p>
          <a:p>
            <a:pPr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ru-RU" sz="1800" dirty="0" smtClean="0"/>
              <a:t>транспорт и связь </a:t>
            </a:r>
            <a:r>
              <a:rPr lang="ru-RU" sz="1800" b="1" dirty="0" smtClean="0"/>
              <a:t>(</a:t>
            </a:r>
            <a:r>
              <a:rPr lang="en-US" sz="1800" b="1" dirty="0" smtClean="0"/>
              <a:t>I)</a:t>
            </a:r>
            <a:endParaRPr lang="ru-RU" sz="1800" dirty="0" smtClean="0"/>
          </a:p>
          <a:p>
            <a:pPr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ru-RU" sz="1800" dirty="0" smtClean="0"/>
              <a:t>образование </a:t>
            </a:r>
            <a:r>
              <a:rPr lang="ru-RU" sz="1800" b="1" dirty="0" smtClean="0"/>
              <a:t>(</a:t>
            </a:r>
            <a:r>
              <a:rPr lang="en-US" sz="1800" b="1" dirty="0" smtClean="0"/>
              <a:t>M</a:t>
            </a:r>
            <a:r>
              <a:rPr lang="ru-RU" sz="1800" b="1" dirty="0" smtClean="0"/>
              <a:t>)</a:t>
            </a:r>
            <a:endParaRPr lang="ru-RU" sz="1800" dirty="0" smtClean="0"/>
          </a:p>
          <a:p>
            <a:pPr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ru-RU" sz="1800" dirty="0" smtClean="0"/>
              <a:t>здравоохранение и предоставление социальных услуг </a:t>
            </a:r>
            <a:r>
              <a:rPr lang="ru-RU" sz="1800" b="1" dirty="0" smtClean="0"/>
              <a:t>(</a:t>
            </a:r>
            <a:r>
              <a:rPr lang="en-US" sz="1800" b="1" dirty="0" smtClean="0"/>
              <a:t>N</a:t>
            </a:r>
            <a:r>
              <a:rPr lang="ru-RU" sz="1800" b="1" dirty="0" smtClean="0"/>
              <a:t>)</a:t>
            </a:r>
            <a:endParaRPr lang="ru-RU" sz="180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343517" y="2860162"/>
            <a:ext cx="5087785" cy="1987887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0" name="Объект 2"/>
          <p:cNvSpPr txBox="1">
            <a:spLocks/>
          </p:cNvSpPr>
          <p:nvPr/>
        </p:nvSpPr>
        <p:spPr>
          <a:xfrm>
            <a:off x="5305239" y="1990564"/>
            <a:ext cx="4042426" cy="4933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85738" indent="-185738" algn="l" defTabSz="742950" rtl="0" eaLnBrk="1" latinLnBrk="0" hangingPunct="1">
              <a:lnSpc>
                <a:spcPct val="90000"/>
              </a:lnSpc>
              <a:spcBef>
                <a:spcPts val="813"/>
              </a:spcBef>
              <a:buFont typeface="Arial"/>
              <a:buChar char="•"/>
              <a:defRPr sz="2275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5572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95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2pPr>
            <a:lvl3pPr marL="9286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625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3pPr>
            <a:lvl4pPr marL="13001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4pPr>
            <a:lvl5pPr marL="16716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</a:pPr>
            <a:r>
              <a:rPr lang="en-US" sz="1800" b="1" i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3 </a:t>
            </a:r>
            <a:r>
              <a:rPr lang="ru-RU" sz="1800" b="1" i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институциональных сектора:</a:t>
            </a:r>
            <a:endParaRPr lang="ru-RU" sz="1800" b="1" i="1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1" name="Объект 2"/>
          <p:cNvSpPr txBox="1">
            <a:spLocks/>
          </p:cNvSpPr>
          <p:nvPr/>
        </p:nvSpPr>
        <p:spPr>
          <a:xfrm>
            <a:off x="6315175" y="3764127"/>
            <a:ext cx="2314410" cy="4933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85738" indent="-185738" algn="l" defTabSz="742950" rtl="0" eaLnBrk="1" latinLnBrk="0" hangingPunct="1">
              <a:lnSpc>
                <a:spcPct val="90000"/>
              </a:lnSpc>
              <a:spcBef>
                <a:spcPts val="813"/>
              </a:spcBef>
              <a:buFont typeface="Arial"/>
              <a:buChar char="•"/>
              <a:defRPr sz="2275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5572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95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2pPr>
            <a:lvl3pPr marL="9286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625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3pPr>
            <a:lvl4pPr marL="13001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4pPr>
            <a:lvl5pPr marL="16716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</a:pPr>
            <a:r>
              <a:rPr lang="ru-RU" sz="1800" b="1" i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ч</a:t>
            </a:r>
            <a:r>
              <a:rPr lang="ru-RU" sz="1800" b="1" i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астный сектор</a:t>
            </a:r>
            <a:endParaRPr lang="ru-RU" sz="1800" b="1" i="1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2" name="Объект 2"/>
          <p:cNvSpPr txBox="1">
            <a:spLocks/>
          </p:cNvSpPr>
          <p:nvPr/>
        </p:nvSpPr>
        <p:spPr>
          <a:xfrm>
            <a:off x="6315174" y="4998452"/>
            <a:ext cx="2276618" cy="493330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185738" indent="-185738" algn="l" defTabSz="742950" rtl="0" eaLnBrk="1" latinLnBrk="0" hangingPunct="1">
              <a:lnSpc>
                <a:spcPct val="90000"/>
              </a:lnSpc>
              <a:spcBef>
                <a:spcPts val="813"/>
              </a:spcBef>
              <a:buFont typeface="Arial"/>
              <a:buChar char="•"/>
              <a:defRPr sz="2275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5572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95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2pPr>
            <a:lvl3pPr marL="9286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625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3pPr>
            <a:lvl4pPr marL="13001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4pPr>
            <a:lvl5pPr marL="16716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</a:pPr>
            <a:r>
              <a:rPr lang="ru-RU" sz="1800" b="1" i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с</a:t>
            </a:r>
            <a:r>
              <a:rPr lang="ru-RU" sz="1800" b="1" i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мешанный сектор</a:t>
            </a:r>
            <a:endParaRPr lang="ru-RU" sz="1800" b="1" i="1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3" name="Объект 2"/>
          <p:cNvSpPr txBox="1">
            <a:spLocks/>
          </p:cNvSpPr>
          <p:nvPr/>
        </p:nvSpPr>
        <p:spPr>
          <a:xfrm>
            <a:off x="6289598" y="5579053"/>
            <a:ext cx="3097471" cy="49333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85738" indent="-185738" algn="l" defTabSz="742950" rtl="0" eaLnBrk="1" latinLnBrk="0" hangingPunct="1">
              <a:lnSpc>
                <a:spcPct val="90000"/>
              </a:lnSpc>
              <a:spcBef>
                <a:spcPts val="813"/>
              </a:spcBef>
              <a:buFont typeface="Arial"/>
              <a:buChar char="•"/>
              <a:defRPr sz="2275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5572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95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2pPr>
            <a:lvl3pPr marL="9286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625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3pPr>
            <a:lvl4pPr marL="13001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4pPr>
            <a:lvl5pPr marL="16716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</a:pPr>
            <a:r>
              <a:rPr lang="ru-RU" sz="1800" b="1" i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г</a:t>
            </a:r>
            <a:r>
              <a:rPr lang="ru-RU" sz="1800" b="1" i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осударственный </a:t>
            </a:r>
          </a:p>
          <a:p>
            <a:pPr marL="0" indent="0">
              <a:buFont typeface="Arial"/>
              <a:buNone/>
            </a:pPr>
            <a:r>
              <a:rPr lang="ru-RU" sz="1800" b="1" i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сектор</a:t>
            </a:r>
            <a:endParaRPr lang="ru-RU" sz="1800" b="1" i="1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343514" y="4912197"/>
            <a:ext cx="5087784" cy="42756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343517" y="5405527"/>
            <a:ext cx="5087785" cy="84038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cxnSp>
        <p:nvCxnSpPr>
          <p:cNvPr id="21" name="Прямая со стрелкой 20"/>
          <p:cNvCxnSpPr/>
          <p:nvPr/>
        </p:nvCxnSpPr>
        <p:spPr>
          <a:xfrm>
            <a:off x="5431299" y="3929332"/>
            <a:ext cx="883876" cy="0"/>
          </a:xfrm>
          <a:prstGeom prst="straightConnector1">
            <a:avLst/>
          </a:prstGeom>
          <a:ln w="38100">
            <a:solidFill>
              <a:schemeClr val="tx1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 стрелкой 22"/>
          <p:cNvCxnSpPr/>
          <p:nvPr/>
        </p:nvCxnSpPr>
        <p:spPr>
          <a:xfrm>
            <a:off x="5431299" y="5158853"/>
            <a:ext cx="883876" cy="0"/>
          </a:xfrm>
          <a:prstGeom prst="straightConnector1">
            <a:avLst/>
          </a:prstGeom>
          <a:ln w="38100">
            <a:solidFill>
              <a:schemeClr val="tx1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 стрелкой 23"/>
          <p:cNvCxnSpPr/>
          <p:nvPr/>
        </p:nvCxnSpPr>
        <p:spPr>
          <a:xfrm>
            <a:off x="5431299" y="5925513"/>
            <a:ext cx="883876" cy="0"/>
          </a:xfrm>
          <a:prstGeom prst="straightConnector1">
            <a:avLst/>
          </a:prstGeom>
          <a:ln w="38100">
            <a:solidFill>
              <a:schemeClr val="tx1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Прямоугольник 16"/>
          <p:cNvSpPr/>
          <p:nvPr/>
        </p:nvSpPr>
        <p:spPr>
          <a:xfrm>
            <a:off x="7704517" y="657922"/>
            <a:ext cx="1099243" cy="11283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3514" y="595653"/>
            <a:ext cx="7895422" cy="1033200"/>
          </a:xfrm>
        </p:spPr>
        <p:txBody>
          <a:bodyPr>
            <a:noAutofit/>
          </a:bodyPr>
          <a:lstStyle/>
          <a:p>
            <a:r>
              <a:rPr lang="ru-RU" sz="2000" dirty="0" smtClean="0"/>
              <a:t>классификация ОТРАСЛЕЙ ДЛЯ ЦЕЛЕЙ </a:t>
            </a:r>
            <a:r>
              <a:rPr lang="ru-RU" sz="2000" dirty="0" err="1" smtClean="0"/>
              <a:t>ТипологиИ</a:t>
            </a:r>
            <a:r>
              <a:rPr lang="ru-RU" sz="2000" dirty="0" smtClean="0"/>
              <a:t> исследуемых агломераций по уровню экономического развития и потенциалу структурных сдвигов в экономике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2046793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B281E-F444-1144-B042-5FE9A7BB944A}" type="slidenum">
              <a:rPr lang="ru-RU" smtClean="0">
                <a:gradFill>
                  <a:gsLst>
                    <a:gs pos="0">
                      <a:srgbClr val="002060"/>
                    </a:gs>
                    <a:gs pos="100000">
                      <a:srgbClr val="5B9BD5">
                        <a:lumMod val="75000"/>
                      </a:srgbClr>
                    </a:gs>
                  </a:gsLst>
                  <a:path path="circle">
                    <a:fillToRect t="100000" r="100000"/>
                  </a:path>
                </a:gradFill>
              </a:rPr>
              <a:pPr/>
              <a:t>13</a:t>
            </a:fld>
            <a:endParaRPr lang="ru-RU">
              <a:gradFill>
                <a:gsLst>
                  <a:gs pos="0">
                    <a:srgbClr val="002060"/>
                  </a:gs>
                  <a:gs pos="100000">
                    <a:srgbClr val="5B9BD5">
                      <a:lumMod val="75000"/>
                    </a:srgbClr>
                  </a:gs>
                </a:gsLst>
                <a:path path="circle">
                  <a:fillToRect t="100000" r="100000"/>
                </a:path>
              </a:gradFill>
            </a:endParaRPr>
          </a:p>
        </p:txBody>
      </p:sp>
      <p:sp>
        <p:nvSpPr>
          <p:cNvPr id="9" name="Объект 2"/>
          <p:cNvSpPr>
            <a:spLocks noGrp="1"/>
          </p:cNvSpPr>
          <p:nvPr>
            <p:ph idx="1"/>
          </p:nvPr>
        </p:nvSpPr>
        <p:spPr>
          <a:xfrm>
            <a:off x="441662" y="1490679"/>
            <a:ext cx="5167832" cy="4698611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endParaRPr lang="en-US" sz="1700" dirty="0"/>
          </a:p>
          <a:p>
            <a:pPr marL="0" indent="0">
              <a:spcBef>
                <a:spcPts val="0"/>
              </a:spcBef>
              <a:buNone/>
            </a:pPr>
            <a:r>
              <a:rPr lang="ru-RU" sz="1700" b="1" dirty="0" smtClean="0">
                <a:solidFill>
                  <a:schemeClr val="accent1">
                    <a:lumMod val="75000"/>
                  </a:schemeClr>
                </a:solidFill>
              </a:rPr>
              <a:t>Отрасли второго эшелона</a:t>
            </a:r>
            <a:r>
              <a:rPr lang="ru-RU" sz="1700" dirty="0" smtClean="0"/>
              <a:t>, отрасли либо не характерные для городской экономики, либо характерные, но не представляющие потенциала с точки зрения экономического роста:</a:t>
            </a:r>
          </a:p>
          <a:p>
            <a:pPr marL="0" indent="0">
              <a:spcBef>
                <a:spcPts val="0"/>
              </a:spcBef>
              <a:buNone/>
            </a:pPr>
            <a:endParaRPr lang="ru-RU" sz="1700" dirty="0" smtClean="0"/>
          </a:p>
          <a:p>
            <a:pPr marL="265113" indent="-179388">
              <a:spcBef>
                <a:spcPts val="0"/>
              </a:spcBef>
              <a:buFont typeface="Wingdings" panose="05000000000000000000" pitchFamily="2" charset="2"/>
              <a:buChar char="§"/>
              <a:tabLst>
                <a:tab pos="265113" algn="l"/>
              </a:tabLst>
            </a:pPr>
            <a:r>
              <a:rPr lang="ru-RU" sz="1700" dirty="0" smtClean="0"/>
              <a:t>сельское хозяйство, охота и рыболовство</a:t>
            </a:r>
            <a:r>
              <a:rPr lang="en-US" sz="1700" dirty="0" smtClean="0"/>
              <a:t> </a:t>
            </a:r>
            <a:r>
              <a:rPr lang="en-US" sz="1700" b="1" dirty="0" smtClean="0"/>
              <a:t>(A)</a:t>
            </a:r>
            <a:endParaRPr lang="en-US" sz="1700" dirty="0" smtClean="0"/>
          </a:p>
          <a:p>
            <a:pPr marL="265113" indent="-179388">
              <a:spcBef>
                <a:spcPts val="0"/>
              </a:spcBef>
              <a:buFont typeface="Wingdings" panose="05000000000000000000" pitchFamily="2" charset="2"/>
              <a:buChar char="§"/>
              <a:tabLst>
                <a:tab pos="265113" algn="l"/>
              </a:tabLst>
            </a:pPr>
            <a:r>
              <a:rPr lang="ru-RU" sz="1700" dirty="0" smtClean="0"/>
              <a:t>рыболовство, рыбоводство </a:t>
            </a:r>
            <a:r>
              <a:rPr lang="ru-RU" sz="1700" b="1" dirty="0" smtClean="0"/>
              <a:t>(В)</a:t>
            </a:r>
            <a:endParaRPr lang="ru-RU" sz="1700" dirty="0"/>
          </a:p>
          <a:p>
            <a:pPr marL="265113" indent="-179388">
              <a:spcBef>
                <a:spcPts val="0"/>
              </a:spcBef>
              <a:buFont typeface="Wingdings" panose="05000000000000000000" pitchFamily="2" charset="2"/>
              <a:buChar char="§"/>
              <a:tabLst>
                <a:tab pos="265113" algn="l"/>
              </a:tabLst>
            </a:pPr>
            <a:r>
              <a:rPr lang="ru-RU" sz="1700" dirty="0" smtClean="0"/>
              <a:t>добыча полезных ископаемых </a:t>
            </a:r>
            <a:r>
              <a:rPr lang="ru-RU" sz="1700" b="1" dirty="0" smtClean="0"/>
              <a:t>(С)</a:t>
            </a:r>
            <a:endParaRPr lang="en-US" sz="1700" dirty="0" smtClean="0"/>
          </a:p>
          <a:p>
            <a:pPr marL="265113" indent="-179388">
              <a:spcBef>
                <a:spcPts val="0"/>
              </a:spcBef>
              <a:buFont typeface="Wingdings" panose="05000000000000000000" pitchFamily="2" charset="2"/>
              <a:buChar char="§"/>
              <a:tabLst>
                <a:tab pos="265113" algn="l"/>
              </a:tabLst>
            </a:pPr>
            <a:r>
              <a:rPr lang="ru-RU" sz="1700" dirty="0" smtClean="0"/>
              <a:t>строительство </a:t>
            </a:r>
            <a:r>
              <a:rPr lang="ru-RU" sz="1700" b="1" dirty="0" smtClean="0"/>
              <a:t>(</a:t>
            </a:r>
            <a:r>
              <a:rPr lang="en-US" sz="1700" b="1" dirty="0" smtClean="0"/>
              <a:t>F)</a:t>
            </a:r>
            <a:endParaRPr lang="ru-RU" sz="1700" dirty="0" smtClean="0"/>
          </a:p>
          <a:p>
            <a:pPr marL="265113" indent="-179388">
              <a:spcBef>
                <a:spcPts val="0"/>
              </a:spcBef>
              <a:buFont typeface="Wingdings" panose="05000000000000000000" pitchFamily="2" charset="2"/>
              <a:buChar char="§"/>
              <a:tabLst>
                <a:tab pos="265113" algn="l"/>
              </a:tabLst>
            </a:pPr>
            <a:r>
              <a:rPr lang="ru-RU" sz="1700" dirty="0" smtClean="0"/>
              <a:t>оптовая и розничная торговля, ремонт автотранспортных средств, мотоциклов, изделий и предметов личного пользования </a:t>
            </a:r>
            <a:r>
              <a:rPr lang="ru-RU" sz="1700" b="1" dirty="0" smtClean="0"/>
              <a:t>(</a:t>
            </a:r>
            <a:r>
              <a:rPr lang="en-US" sz="1700" b="1" dirty="0" smtClean="0"/>
              <a:t>G)</a:t>
            </a:r>
            <a:endParaRPr lang="ru-RU" sz="1700" dirty="0" smtClean="0"/>
          </a:p>
          <a:p>
            <a:pPr marL="265113" indent="-179388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tabLst>
                <a:tab pos="265113" algn="l"/>
              </a:tabLst>
            </a:pPr>
            <a:r>
              <a:rPr lang="ru-RU" sz="1700" dirty="0" smtClean="0"/>
              <a:t>гостиницы и рестораны </a:t>
            </a:r>
            <a:r>
              <a:rPr lang="ru-RU" sz="1700" b="1" dirty="0" smtClean="0"/>
              <a:t>(</a:t>
            </a:r>
            <a:r>
              <a:rPr lang="en-US" sz="1700" b="1" dirty="0" smtClean="0"/>
              <a:t>H)</a:t>
            </a:r>
            <a:endParaRPr lang="ru-RU" sz="1700" b="1" dirty="0" smtClean="0"/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endParaRPr lang="ru-RU" sz="1700" dirty="0" smtClean="0"/>
          </a:p>
          <a:p>
            <a:pPr marL="265113" indent="-179388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ru-RU" sz="1700" dirty="0" smtClean="0"/>
              <a:t>производство и распределение электроэнергии, газа и воды </a:t>
            </a:r>
            <a:r>
              <a:rPr lang="ru-RU" sz="1700" b="1" dirty="0" smtClean="0"/>
              <a:t>(</a:t>
            </a:r>
            <a:r>
              <a:rPr lang="en-US" sz="1700" b="1" dirty="0" smtClean="0"/>
              <a:t>E)</a:t>
            </a:r>
            <a:endParaRPr lang="en-US" sz="1700" dirty="0" smtClean="0"/>
          </a:p>
          <a:p>
            <a:pPr marL="265113" indent="-179388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700" dirty="0" smtClean="0"/>
              <a:t>предоставление прочих коммунальных, социальных и персональных услуг </a:t>
            </a:r>
            <a:r>
              <a:rPr lang="ru-RU" sz="1700" b="1" dirty="0" smtClean="0"/>
              <a:t>(</a:t>
            </a:r>
            <a:r>
              <a:rPr lang="en-US" sz="1700" b="1" dirty="0" smtClean="0"/>
              <a:t>O)</a:t>
            </a:r>
            <a:endParaRPr lang="ru-RU" sz="1700" dirty="0" smtClean="0"/>
          </a:p>
          <a:p>
            <a:pPr marL="265113" indent="-179388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ru-RU" sz="1700" dirty="0" smtClean="0"/>
              <a:t>государственное управление и обеспечение военной безопасности, социальное страхование </a:t>
            </a:r>
            <a:r>
              <a:rPr lang="ru-RU" sz="1700" b="1" dirty="0" smtClean="0"/>
              <a:t>(</a:t>
            </a:r>
            <a:r>
              <a:rPr lang="en-US" sz="1700" b="1" dirty="0" smtClean="0"/>
              <a:t>L)</a:t>
            </a:r>
            <a:endParaRPr lang="ru-RU" sz="1700" dirty="0" smtClean="0"/>
          </a:p>
          <a:p>
            <a:pPr marL="342900" indent="-342900">
              <a:spcBef>
                <a:spcPts val="0"/>
              </a:spcBef>
              <a:buFont typeface="+mj-lt"/>
              <a:buAutoNum type="arabicPeriod"/>
            </a:pPr>
            <a:endParaRPr lang="ru-RU" sz="1700" dirty="0" smtClean="0"/>
          </a:p>
          <a:p>
            <a:pPr marL="0" indent="0">
              <a:spcBef>
                <a:spcPts val="0"/>
              </a:spcBef>
              <a:buNone/>
            </a:pPr>
            <a:endParaRPr lang="en-US" sz="1700" dirty="0" smtClean="0"/>
          </a:p>
        </p:txBody>
      </p:sp>
      <p:sp>
        <p:nvSpPr>
          <p:cNvPr id="10" name="Объект 2"/>
          <p:cNvSpPr txBox="1">
            <a:spLocks/>
          </p:cNvSpPr>
          <p:nvPr/>
        </p:nvSpPr>
        <p:spPr>
          <a:xfrm>
            <a:off x="5515845" y="1876264"/>
            <a:ext cx="3628156" cy="493330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185738" indent="-185738" algn="l" defTabSz="742950" rtl="0" eaLnBrk="1" latinLnBrk="0" hangingPunct="1">
              <a:lnSpc>
                <a:spcPct val="90000"/>
              </a:lnSpc>
              <a:spcBef>
                <a:spcPts val="813"/>
              </a:spcBef>
              <a:buFont typeface="Arial"/>
              <a:buChar char="•"/>
              <a:defRPr sz="2275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5572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95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2pPr>
            <a:lvl3pPr marL="9286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625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3pPr>
            <a:lvl4pPr marL="13001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4pPr>
            <a:lvl5pPr marL="16716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</a:pPr>
            <a:r>
              <a:rPr lang="en-US" sz="1800" b="1" i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3 </a:t>
            </a:r>
            <a:r>
              <a:rPr lang="ru-RU" sz="1800" b="1" i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институциональных сектора:</a:t>
            </a:r>
            <a:endParaRPr lang="ru-RU" sz="1800" b="1" i="1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1" name="Объект 2"/>
          <p:cNvSpPr txBox="1">
            <a:spLocks/>
          </p:cNvSpPr>
          <p:nvPr/>
        </p:nvSpPr>
        <p:spPr>
          <a:xfrm>
            <a:off x="6315175" y="3669236"/>
            <a:ext cx="2314410" cy="4933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85738" indent="-185738" algn="l" defTabSz="742950" rtl="0" eaLnBrk="1" latinLnBrk="0" hangingPunct="1">
              <a:lnSpc>
                <a:spcPct val="90000"/>
              </a:lnSpc>
              <a:spcBef>
                <a:spcPts val="813"/>
              </a:spcBef>
              <a:buFont typeface="Arial"/>
              <a:buChar char="•"/>
              <a:defRPr sz="2275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5572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95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2pPr>
            <a:lvl3pPr marL="9286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625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3pPr>
            <a:lvl4pPr marL="13001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4pPr>
            <a:lvl5pPr marL="16716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</a:pPr>
            <a:r>
              <a:rPr lang="ru-RU" sz="1800" b="1" i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ч</a:t>
            </a:r>
            <a:r>
              <a:rPr lang="ru-RU" sz="1800" b="1" i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астный сектор</a:t>
            </a:r>
            <a:endParaRPr lang="ru-RU" sz="1800" b="1" i="1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2" name="Объект 2"/>
          <p:cNvSpPr txBox="1">
            <a:spLocks/>
          </p:cNvSpPr>
          <p:nvPr/>
        </p:nvSpPr>
        <p:spPr>
          <a:xfrm>
            <a:off x="6352967" y="4912188"/>
            <a:ext cx="2276618" cy="493330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185738" indent="-185738" algn="l" defTabSz="742950" rtl="0" eaLnBrk="1" latinLnBrk="0" hangingPunct="1">
              <a:lnSpc>
                <a:spcPct val="90000"/>
              </a:lnSpc>
              <a:spcBef>
                <a:spcPts val="813"/>
              </a:spcBef>
              <a:buFont typeface="Arial"/>
              <a:buChar char="•"/>
              <a:defRPr sz="2275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5572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95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2pPr>
            <a:lvl3pPr marL="9286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625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3pPr>
            <a:lvl4pPr marL="13001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4pPr>
            <a:lvl5pPr marL="16716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</a:pPr>
            <a:r>
              <a:rPr lang="ru-RU" sz="1800" b="1" i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с</a:t>
            </a:r>
            <a:r>
              <a:rPr lang="ru-RU" sz="1800" b="1" i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мешанный сектор</a:t>
            </a:r>
            <a:endParaRPr lang="ru-RU" sz="1800" b="1" i="1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3" name="Объект 2"/>
          <p:cNvSpPr txBox="1">
            <a:spLocks/>
          </p:cNvSpPr>
          <p:nvPr/>
        </p:nvSpPr>
        <p:spPr>
          <a:xfrm>
            <a:off x="6352967" y="5486698"/>
            <a:ext cx="2882636" cy="49333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85738" indent="-185738" algn="l" defTabSz="742950" rtl="0" eaLnBrk="1" latinLnBrk="0" hangingPunct="1">
              <a:lnSpc>
                <a:spcPct val="90000"/>
              </a:lnSpc>
              <a:spcBef>
                <a:spcPts val="813"/>
              </a:spcBef>
              <a:buFont typeface="Arial"/>
              <a:buChar char="•"/>
              <a:defRPr sz="2275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5572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95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2pPr>
            <a:lvl3pPr marL="9286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625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3pPr>
            <a:lvl4pPr marL="13001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4pPr>
            <a:lvl5pPr marL="16716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</a:pPr>
            <a:r>
              <a:rPr lang="ru-RU" sz="1800" b="1" i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г</a:t>
            </a:r>
            <a:r>
              <a:rPr lang="ru-RU" sz="1800" b="1" i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осударственный сектор</a:t>
            </a:r>
            <a:endParaRPr lang="ru-RU" sz="1800" b="1" i="1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526206" y="2667965"/>
            <a:ext cx="5083285" cy="176581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cxnSp>
        <p:nvCxnSpPr>
          <p:cNvPr id="21" name="Прямая со стрелкой 20"/>
          <p:cNvCxnSpPr/>
          <p:nvPr/>
        </p:nvCxnSpPr>
        <p:spPr>
          <a:xfrm>
            <a:off x="5609497" y="3860321"/>
            <a:ext cx="705682" cy="0"/>
          </a:xfrm>
          <a:prstGeom prst="straightConnector1">
            <a:avLst/>
          </a:prstGeom>
          <a:ln w="38100">
            <a:solidFill>
              <a:schemeClr val="tx1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 стрелкой 22"/>
          <p:cNvCxnSpPr/>
          <p:nvPr/>
        </p:nvCxnSpPr>
        <p:spPr>
          <a:xfrm>
            <a:off x="5609497" y="5071880"/>
            <a:ext cx="705682" cy="0"/>
          </a:xfrm>
          <a:prstGeom prst="straightConnector1">
            <a:avLst/>
          </a:prstGeom>
          <a:ln w="38100">
            <a:solidFill>
              <a:schemeClr val="tx1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 стрелкой 23"/>
          <p:cNvCxnSpPr/>
          <p:nvPr/>
        </p:nvCxnSpPr>
        <p:spPr>
          <a:xfrm>
            <a:off x="5609496" y="5704517"/>
            <a:ext cx="705682" cy="0"/>
          </a:xfrm>
          <a:prstGeom prst="straightConnector1">
            <a:avLst/>
          </a:prstGeom>
          <a:ln w="38100">
            <a:solidFill>
              <a:schemeClr val="tx1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/>
          <p:cNvSpPr/>
          <p:nvPr/>
        </p:nvSpPr>
        <p:spPr>
          <a:xfrm>
            <a:off x="526211" y="4596109"/>
            <a:ext cx="5083286" cy="80941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526206" y="5466640"/>
            <a:ext cx="5083285" cy="62665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7704517" y="657922"/>
            <a:ext cx="1099243" cy="11283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3514" y="595653"/>
            <a:ext cx="7895422" cy="1033200"/>
          </a:xfrm>
        </p:spPr>
        <p:txBody>
          <a:bodyPr>
            <a:noAutofit/>
          </a:bodyPr>
          <a:lstStyle/>
          <a:p>
            <a:r>
              <a:rPr lang="ru-RU" sz="1800" dirty="0">
                <a:gradFill flip="none" rotWithShape="1">
                  <a:gsLst>
                    <a:gs pos="0">
                      <a:srgbClr val="5B9BD5">
                        <a:lumMod val="50000"/>
                      </a:srgbClr>
                    </a:gs>
                    <a:gs pos="100000">
                      <a:srgbClr val="5B9BD5">
                        <a:lumMod val="75000"/>
                      </a:srgbClr>
                    </a:gs>
                  </a:gsLst>
                  <a:path path="circle">
                    <a:fillToRect t="100000" r="100000"/>
                  </a:path>
                  <a:tileRect l="-100000" b="-100000"/>
                </a:gradFill>
              </a:rPr>
              <a:t>классификация ОТРАСЛЕЙ ДЛЯ ЦЕЛЕЙ </a:t>
            </a:r>
            <a:r>
              <a:rPr lang="ru-RU" sz="1800" dirty="0" err="1">
                <a:gradFill flip="none" rotWithShape="1">
                  <a:gsLst>
                    <a:gs pos="0">
                      <a:srgbClr val="5B9BD5">
                        <a:lumMod val="50000"/>
                      </a:srgbClr>
                    </a:gs>
                    <a:gs pos="100000">
                      <a:srgbClr val="5B9BD5">
                        <a:lumMod val="75000"/>
                      </a:srgbClr>
                    </a:gs>
                  </a:gsLst>
                  <a:path path="circle">
                    <a:fillToRect t="100000" r="100000"/>
                  </a:path>
                  <a:tileRect l="-100000" b="-100000"/>
                </a:gradFill>
              </a:rPr>
              <a:t>ТипологиИ</a:t>
            </a:r>
            <a:r>
              <a:rPr lang="ru-RU" sz="1800" dirty="0">
                <a:gradFill flip="none" rotWithShape="1">
                  <a:gsLst>
                    <a:gs pos="0">
                      <a:srgbClr val="5B9BD5">
                        <a:lumMod val="50000"/>
                      </a:srgbClr>
                    </a:gs>
                    <a:gs pos="100000">
                      <a:srgbClr val="5B9BD5">
                        <a:lumMod val="75000"/>
                      </a:srgbClr>
                    </a:gs>
                  </a:gsLst>
                  <a:path path="circle">
                    <a:fillToRect t="100000" r="100000"/>
                  </a:path>
                  <a:tileRect l="-100000" b="-100000"/>
                </a:gradFill>
              </a:rPr>
              <a:t> исследуемых агломераций по уровню экономического развития и потенциалу структурных сдвигов в экономике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1246189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ритерии типологии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B281E-F444-1144-B042-5FE9A7BB944A}" type="slidenum">
              <a:rPr lang="ru-RU" smtClean="0">
                <a:gradFill>
                  <a:gsLst>
                    <a:gs pos="0">
                      <a:srgbClr val="002060"/>
                    </a:gs>
                    <a:gs pos="100000">
                      <a:srgbClr val="5B9BD5">
                        <a:lumMod val="75000"/>
                      </a:srgbClr>
                    </a:gs>
                  </a:gsLst>
                  <a:path path="circle">
                    <a:fillToRect t="100000" r="100000"/>
                  </a:path>
                </a:gradFill>
              </a:rPr>
              <a:pPr/>
              <a:t>14</a:t>
            </a:fld>
            <a:endParaRPr lang="ru-RU">
              <a:gradFill>
                <a:gsLst>
                  <a:gs pos="0">
                    <a:srgbClr val="002060"/>
                  </a:gs>
                  <a:gs pos="100000">
                    <a:srgbClr val="5B9BD5">
                      <a:lumMod val="75000"/>
                    </a:srgbClr>
                  </a:gs>
                </a:gsLst>
                <a:path path="circle">
                  <a:fillToRect t="100000" r="100000"/>
                </a:path>
              </a:gradFill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8956979"/>
              </p:ext>
            </p:extLst>
          </p:nvPr>
        </p:nvGraphicFramePr>
        <p:xfrm>
          <a:off x="3307543" y="5574800"/>
          <a:ext cx="5034927" cy="542353"/>
        </p:xfrm>
        <a:graphic>
          <a:graphicData uri="http://schemas.openxmlformats.org/drawingml/2006/table">
            <a:tbl>
              <a:tblPr/>
              <a:tblGrid>
                <a:gridCol w="569253"/>
                <a:gridCol w="4465674"/>
              </a:tblGrid>
              <a:tr h="158839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 </a:t>
                      </a:r>
                    </a:p>
                  </a:txBody>
                  <a:tcPr marL="8792" marR="8792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Доля</a:t>
                      </a:r>
                      <a:r>
                        <a:rPr lang="ru-RU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в ВГП 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ыше среднего в</a:t>
                      </a:r>
                      <a:r>
                        <a:rPr lang="ru-RU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целом по 4</a:t>
                      </a:r>
                      <a:r>
                        <a:rPr 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</a:t>
                      </a:r>
                      <a:r>
                        <a:rPr lang="ru-RU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агломерациям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8792" marR="8792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8023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 </a:t>
                      </a:r>
                    </a:p>
                  </a:txBody>
                  <a:tcPr marL="8792" marR="8792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Доля</a:t>
                      </a:r>
                      <a:r>
                        <a:rPr lang="ru-RU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в ВГП 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а среднем уровне</a:t>
                      </a:r>
                      <a:r>
                        <a:rPr lang="ru-RU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в целом по 4</a:t>
                      </a:r>
                      <a:r>
                        <a:rPr 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</a:t>
                      </a:r>
                      <a:r>
                        <a:rPr lang="ru-RU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агломерациям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8792" marR="8792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58839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 </a:t>
                      </a:r>
                    </a:p>
                  </a:txBody>
                  <a:tcPr marL="8792" marR="8792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Доля в ВГП ниже среднего</a:t>
                      </a:r>
                      <a:r>
                        <a:rPr lang="ru-RU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в целом по 4</a:t>
                      </a:r>
                      <a:r>
                        <a:rPr 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</a:t>
                      </a:r>
                      <a:r>
                        <a:rPr lang="ru-RU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агломерациям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8792" marR="8792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11" name="Объект 2"/>
          <p:cNvSpPr txBox="1">
            <a:spLocks/>
          </p:cNvSpPr>
          <p:nvPr/>
        </p:nvSpPr>
        <p:spPr>
          <a:xfrm>
            <a:off x="434005" y="6117153"/>
            <a:ext cx="6899138" cy="242633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185738" indent="-185738" algn="l" defTabSz="742950" rtl="0" eaLnBrk="1" latinLnBrk="0" hangingPunct="1">
              <a:lnSpc>
                <a:spcPct val="90000"/>
              </a:lnSpc>
              <a:spcBef>
                <a:spcPts val="813"/>
              </a:spcBef>
              <a:buFont typeface="Arial"/>
              <a:buChar char="•"/>
              <a:defRPr sz="2275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5572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95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2pPr>
            <a:lvl3pPr marL="9286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625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3pPr>
            <a:lvl4pPr marL="13001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4pPr>
            <a:lvl5pPr marL="16716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</a:pPr>
            <a:r>
              <a:rPr lang="ru-RU" sz="12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* Не рассматриваются отрасли </a:t>
            </a:r>
            <a:r>
              <a:rPr lang="en-US" sz="12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I, E</a:t>
            </a:r>
            <a:endParaRPr lang="ru-RU" sz="12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7704517" y="657922"/>
            <a:ext cx="1099243" cy="11283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6165580"/>
              </p:ext>
            </p:extLst>
          </p:nvPr>
        </p:nvGraphicFramePr>
        <p:xfrm>
          <a:off x="550133" y="1357239"/>
          <a:ext cx="8076966" cy="4075296"/>
        </p:xfrm>
        <a:graphic>
          <a:graphicData uri="http://schemas.openxmlformats.org/drawingml/2006/table">
            <a:tbl>
              <a:tblPr/>
              <a:tblGrid>
                <a:gridCol w="2715893"/>
                <a:gridCol w="787437"/>
                <a:gridCol w="1118872"/>
                <a:gridCol w="1040355"/>
                <a:gridCol w="675280"/>
                <a:gridCol w="850938"/>
                <a:gridCol w="888191"/>
              </a:tblGrid>
              <a:tr h="128673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 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Тип агломераций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918" marR="7918" marT="85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Обрабаты-вающая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0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ромышлен-ность</a:t>
                      </a:r>
                      <a:endParaRPr lang="ru-RU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algn="ctr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(</a:t>
                      </a:r>
                      <a:r>
                        <a:rPr 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D)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918" marR="7918" marT="85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Финансовый</a:t>
                      </a:r>
                      <a:r>
                        <a:rPr lang="ru-RU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сектор, научные разработки и интеллектуальные услуги</a:t>
                      </a:r>
                      <a:endParaRPr lang="en-US" sz="105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algn="ctr" fontAlgn="ctr"/>
                      <a:r>
                        <a:rPr 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(J, K)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918" marR="7918" marT="85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Образование и 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здравоохранение</a:t>
                      </a:r>
                      <a:endParaRPr lang="en-US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algn="ctr" fontAlgn="ctr"/>
                      <a:r>
                        <a:rPr 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(M,</a:t>
                      </a:r>
                      <a:r>
                        <a:rPr 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N)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918" marR="7918" marT="85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Ресурсная</a:t>
                      </a:r>
                      <a:r>
                        <a:rPr lang="ru-RU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экономика</a:t>
                      </a:r>
                      <a:endParaRPr lang="en-US" sz="105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algn="ctr" fontAlgn="ctr"/>
                      <a:r>
                        <a:rPr 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(A,B,C)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918" marR="7918" marT="85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отреби</a:t>
                      </a:r>
                      <a:r>
                        <a:rPr 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-</a:t>
                      </a:r>
                      <a:r>
                        <a:rPr lang="ru-RU" sz="10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тельские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услуги</a:t>
                      </a:r>
                      <a:endParaRPr lang="en-US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algn="ctr" fontAlgn="ctr"/>
                      <a:r>
                        <a:rPr 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(G,</a:t>
                      </a:r>
                      <a:r>
                        <a:rPr 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F, H, O)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918" marR="7918" marT="85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Гос.</a:t>
                      </a:r>
                      <a:r>
                        <a:rPr lang="ru-RU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у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равление 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и 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безопасность</a:t>
                      </a:r>
                      <a:endParaRPr lang="en-US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algn="ctr" fontAlgn="ctr"/>
                      <a:r>
                        <a:rPr 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(L)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918" marR="7918" marT="85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51469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. Агломерации с развитой современной городской экономикой</a:t>
                      </a:r>
                    </a:p>
                  </a:txBody>
                  <a:tcPr marL="7918" marR="7918" marT="85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 </a:t>
                      </a:r>
                    </a:p>
                  </a:txBody>
                  <a:tcPr marL="7918" marR="7918" marT="85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 </a:t>
                      </a:r>
                    </a:p>
                  </a:txBody>
                  <a:tcPr marL="7918" marR="7918" marT="85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 </a:t>
                      </a:r>
                    </a:p>
                  </a:txBody>
                  <a:tcPr marL="7918" marR="7918" marT="85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 </a:t>
                      </a:r>
                    </a:p>
                  </a:txBody>
                  <a:tcPr marL="7918" marR="7918" marT="85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 </a:t>
                      </a:r>
                    </a:p>
                  </a:txBody>
                  <a:tcPr marL="7918" marR="7918" marT="85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 </a:t>
                      </a:r>
                    </a:p>
                  </a:txBody>
                  <a:tcPr marL="7918" marR="7918" marT="85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BF8F"/>
                    </a:solidFill>
                  </a:tcPr>
                </a:tc>
              </a:tr>
              <a:tr h="68625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. Агломерации с ресурсной экономикой и слабым потенциалом структурных сдвигов</a:t>
                      </a:r>
                    </a:p>
                  </a:txBody>
                  <a:tcPr marL="7918" marR="7918" marT="85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 </a:t>
                      </a:r>
                    </a:p>
                  </a:txBody>
                  <a:tcPr marL="7918" marR="7918" marT="85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 </a:t>
                      </a:r>
                    </a:p>
                  </a:txBody>
                  <a:tcPr marL="7918" marR="7918" marT="85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 </a:t>
                      </a:r>
                    </a:p>
                  </a:txBody>
                  <a:tcPr marL="7918" marR="7918" marT="85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 </a:t>
                      </a:r>
                    </a:p>
                  </a:txBody>
                  <a:tcPr marL="7918" marR="7918" marT="85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 </a:t>
                      </a:r>
                    </a:p>
                  </a:txBody>
                  <a:tcPr marL="7918" marR="7918" marT="85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 </a:t>
                      </a:r>
                    </a:p>
                  </a:txBody>
                  <a:tcPr marL="7918" marR="7918" marT="85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</a:tr>
              <a:tr h="68625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3. Агломерации с промышленной экономикой и умеренным потенциалом структурных сдвигов</a:t>
                      </a:r>
                    </a:p>
                  </a:txBody>
                  <a:tcPr marL="7918" marR="7918" marT="85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 </a:t>
                      </a:r>
                    </a:p>
                  </a:txBody>
                  <a:tcPr marL="7918" marR="7918" marT="85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 </a:t>
                      </a:r>
                    </a:p>
                  </a:txBody>
                  <a:tcPr marL="7918" marR="7918" marT="85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 </a:t>
                      </a:r>
                    </a:p>
                  </a:txBody>
                  <a:tcPr marL="7918" marR="7918" marT="85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 </a:t>
                      </a:r>
                    </a:p>
                  </a:txBody>
                  <a:tcPr marL="7918" marR="7918" marT="85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 </a:t>
                      </a:r>
                    </a:p>
                  </a:txBody>
                  <a:tcPr marL="7918" marR="7918" marT="85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 </a:t>
                      </a:r>
                    </a:p>
                  </a:txBody>
                  <a:tcPr marL="7918" marR="7918" marT="85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</a:tr>
              <a:tr h="90134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4.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Агломерации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депрессивной экономикой и неясными перспективами структурных сдвигов</a:t>
                      </a:r>
                    </a:p>
                  </a:txBody>
                  <a:tcPr marL="7918" marR="7918" marT="85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 </a:t>
                      </a:r>
                    </a:p>
                  </a:txBody>
                  <a:tcPr marL="7918" marR="7918" marT="85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 </a:t>
                      </a:r>
                    </a:p>
                  </a:txBody>
                  <a:tcPr marL="7918" marR="7918" marT="85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 </a:t>
                      </a:r>
                    </a:p>
                  </a:txBody>
                  <a:tcPr marL="7918" marR="7918" marT="85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 </a:t>
                      </a:r>
                    </a:p>
                  </a:txBody>
                  <a:tcPr marL="7918" marR="7918" marT="85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 </a:t>
                      </a:r>
                    </a:p>
                  </a:txBody>
                  <a:tcPr marL="7918" marR="7918" marT="85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 </a:t>
                      </a:r>
                    </a:p>
                  </a:txBody>
                  <a:tcPr marL="7918" marR="7918" marT="857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336569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B281E-F444-1144-B042-5FE9A7BB944A}" type="slidenum">
              <a:rPr lang="ru-RU" smtClean="0">
                <a:gradFill>
                  <a:gsLst>
                    <a:gs pos="0">
                      <a:srgbClr val="002060"/>
                    </a:gs>
                    <a:gs pos="100000">
                      <a:srgbClr val="5B9BD5">
                        <a:lumMod val="75000"/>
                      </a:srgbClr>
                    </a:gs>
                  </a:gsLst>
                  <a:path path="circle">
                    <a:fillToRect t="100000" r="100000"/>
                  </a:path>
                </a:gradFill>
              </a:rPr>
              <a:pPr/>
              <a:t>15</a:t>
            </a:fld>
            <a:endParaRPr lang="ru-RU">
              <a:gradFill>
                <a:gsLst>
                  <a:gs pos="0">
                    <a:srgbClr val="002060"/>
                  </a:gs>
                  <a:gs pos="100000">
                    <a:srgbClr val="5B9BD5">
                      <a:lumMod val="75000"/>
                    </a:srgbClr>
                  </a:gs>
                </a:gsLst>
                <a:path path="circle">
                  <a:fillToRect t="100000" r="100000"/>
                </a:path>
              </a:gradFill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9642477"/>
              </p:ext>
            </p:extLst>
          </p:nvPr>
        </p:nvGraphicFramePr>
        <p:xfrm>
          <a:off x="628655" y="5756505"/>
          <a:ext cx="3179951" cy="508635"/>
        </p:xfrm>
        <a:graphic>
          <a:graphicData uri="http://schemas.openxmlformats.org/drawingml/2006/table">
            <a:tbl>
              <a:tblPr/>
              <a:tblGrid>
                <a:gridCol w="656468"/>
                <a:gridCol w="2523483"/>
              </a:tblGrid>
              <a:tr h="1285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 </a:t>
                      </a:r>
                    </a:p>
                  </a:txBody>
                  <a:tcPr marL="8792" marR="8792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Группа 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А – центры макрорегионов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8792" marR="8792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85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 </a:t>
                      </a:r>
                    </a:p>
                  </a:txBody>
                  <a:tcPr marL="8792" marR="8792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Группа 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 –</a:t>
                      </a:r>
                      <a:r>
                        <a:rPr lang="ru-RU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региональные центры</a:t>
                      </a:r>
                    </a:p>
                  </a:txBody>
                  <a:tcPr marL="8792" marR="8792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85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 </a:t>
                      </a:r>
                    </a:p>
                  </a:txBody>
                  <a:tcPr marL="8792" marR="8792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Группа 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 – локальные</a:t>
                      </a:r>
                      <a:r>
                        <a:rPr lang="ru-RU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центры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8792" marR="8792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9" name="Прямоугольник 8"/>
          <p:cNvSpPr/>
          <p:nvPr/>
        </p:nvSpPr>
        <p:spPr>
          <a:xfrm>
            <a:off x="7704517" y="657922"/>
            <a:ext cx="1099243" cy="11283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586049"/>
            <a:ext cx="7266414" cy="1033200"/>
          </a:xfrm>
        </p:spPr>
        <p:txBody>
          <a:bodyPr>
            <a:noAutofit/>
          </a:bodyPr>
          <a:lstStyle/>
          <a:p>
            <a:r>
              <a:rPr lang="ru-RU" sz="2000" dirty="0"/>
              <a:t>Типология исследуемых агломераций по уровню экономического развития и потенциалу структурных сдвигов в экономике</a:t>
            </a: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6205966"/>
              </p:ext>
            </p:extLst>
          </p:nvPr>
        </p:nvGraphicFramePr>
        <p:xfrm>
          <a:off x="628648" y="1491658"/>
          <a:ext cx="8058149" cy="4347498"/>
        </p:xfrm>
        <a:graphic>
          <a:graphicData uri="http://schemas.openxmlformats.org/drawingml/2006/table">
            <a:tbl>
              <a:tblPr/>
              <a:tblGrid>
                <a:gridCol w="1666903"/>
                <a:gridCol w="1790778"/>
                <a:gridCol w="2035194"/>
                <a:gridCol w="2565274"/>
              </a:tblGrid>
              <a:tr h="5804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. Агломерации с развитой современной городской экономикой</a:t>
                      </a: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. Агломерации с ресурсной экономикой и слабым потенциалом структурных сдвигов</a:t>
                      </a: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3. Агломерации с промышленной экономикой и умеренным потенциалом структурных сдвигов</a:t>
                      </a: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4. </a:t>
                      </a:r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Агломерации с </a:t>
                      </a:r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депрессивной экономикой и неясными перспективами структурных сдвигов</a:t>
                      </a: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0827">
                <a:tc>
                  <a:txBody>
                    <a:bodyPr/>
                    <a:lstStyle/>
                    <a:p>
                      <a:pPr marL="228600" indent="-228600" algn="l" fontAlgn="ctr">
                        <a:buAutoNum type="arabicPeriod"/>
                      </a:pP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осков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AutoNum type="arabicPeriod"/>
                      </a:pP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Владивосток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. </a:t>
                      </a:r>
                      <a:r>
                        <a:rPr lang="ru-RU" sz="10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амарско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-Тольяттин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buAutoNum type="arabicPeriod"/>
                      </a:pP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Владикавказ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</a:tr>
              <a:tr h="15082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. Санкт-Петербург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. Ставрополь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. Челябин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. Абакан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</a:tr>
              <a:tr h="15082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3. Екатеринбург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3. Мурман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3. Волгоград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3. </a:t>
                      </a:r>
                      <a:r>
                        <a:rPr lang="ru-RU" sz="10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Кавминвод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</a:tr>
              <a:tr h="15082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4.</a:t>
                      </a:r>
                      <a:r>
                        <a:rPr lang="ru-RU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овосибир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4. Краснояр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4. Перм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4. Барнауль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</a:tr>
              <a:tr h="15082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.</a:t>
                      </a:r>
                      <a:r>
                        <a:rPr lang="ru-RU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Ростов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. Южно-Сахалин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. Саратов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. Махачкалин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</a:tr>
              <a:tr h="15082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6. Казан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6. </a:t>
                      </a:r>
                      <a:r>
                        <a:rPr lang="ru-RU" sz="10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ургут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6. Ом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 rowSpan="16"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 </a:t>
                      </a:r>
                    </a:p>
                  </a:txBody>
                  <a:tcPr marL="7845" marR="7845" marT="849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082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7. Уфим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7. </a:t>
                      </a:r>
                      <a:r>
                        <a:rPr lang="ru-RU" sz="10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Альметьев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7. Иркут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082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8. Нижегород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8. Новокузнец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8. </a:t>
                      </a:r>
                      <a:r>
                        <a:rPr lang="ru-RU" sz="10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Тульско-Новомосков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082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9. Воронеж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 rowSpan="13"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 </a:t>
                      </a:r>
                    </a:p>
                  </a:txBody>
                  <a:tcPr marL="7845" marR="7845" marT="849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9. Брян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082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0. Краснодар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0. Киров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082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1. Том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1. Чебоксар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0827">
                <a:tc rowSpan="10"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 </a:t>
                      </a:r>
                    </a:p>
                  </a:txBody>
                  <a:tcPr marL="7845" marR="7845" marT="849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2. Ижев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082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3.</a:t>
                      </a:r>
                      <a:r>
                        <a:rPr lang="ru-RU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Липец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082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4. </a:t>
                      </a:r>
                      <a:r>
                        <a:rPr lang="ru-RU" sz="10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Ярославско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-Рыбин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082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5.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0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Ульяновско-Димитровград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082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6. Нижне-</a:t>
                      </a:r>
                      <a:r>
                        <a:rPr lang="ru-RU" sz="10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Тагиль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082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7. Набережно-</a:t>
                      </a:r>
                      <a:r>
                        <a:rPr lang="ru-RU" sz="10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Челнин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082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8. </a:t>
                      </a:r>
                      <a:r>
                        <a:rPr lang="ru-RU" sz="10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терлитамак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082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9. </a:t>
                      </a:r>
                      <a:r>
                        <a:rPr lang="ru-RU" sz="10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Ор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082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0. </a:t>
                      </a:r>
                      <a:r>
                        <a:rPr lang="ru-RU" sz="10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Златоустско-Миас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082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1. </a:t>
                      </a:r>
                      <a:r>
                        <a:rPr lang="ru-RU" sz="10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тароосколь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9507072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 smtClean="0"/>
              <a:t>Агломерации с развитой современной городской экономикой</a:t>
            </a:r>
            <a:endParaRPr lang="ru-RU" dirty="0"/>
          </a:p>
        </p:txBody>
      </p:sp>
      <p:graphicFrame>
        <p:nvGraphicFramePr>
          <p:cNvPr id="7" name="Объект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45979270"/>
              </p:ext>
            </p:extLst>
          </p:nvPr>
        </p:nvGraphicFramePr>
        <p:xfrm>
          <a:off x="6973516" y="2095583"/>
          <a:ext cx="1732097" cy="2653809"/>
        </p:xfrm>
        <a:graphic>
          <a:graphicData uri="http://schemas.openxmlformats.org/drawingml/2006/table">
            <a:tbl>
              <a:tblPr/>
              <a:tblGrid>
                <a:gridCol w="1732097"/>
              </a:tblGrid>
              <a:tr h="149824">
                <a:tc>
                  <a:txBody>
                    <a:bodyPr/>
                    <a:lstStyle/>
                    <a:p>
                      <a:pPr marL="228600" indent="-228600" algn="l" fontAlgn="ctr">
                        <a:buAutoNum type="arabicPeriod"/>
                      </a:pP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осковска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</a:tr>
              <a:tr h="14982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. Санкт-Петербургска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</a:tr>
              <a:tr h="14982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3. Екатеринбургска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</a:tr>
              <a:tr h="14982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4.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овосибирска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</a:tr>
              <a:tr h="14982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.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Ростовска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</a:tr>
              <a:tr h="14982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6. Казанска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</a:tr>
              <a:tr h="14982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7. Уфимска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</a:tr>
              <a:tr h="14982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8. Нижегородска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</a:tr>
              <a:tr h="14982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9. Воронежска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</a:tr>
              <a:tr h="14982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0. Краснодарска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</a:tr>
              <a:tr h="14982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1. Томска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</a:tr>
            </a:tbl>
          </a:graphicData>
        </a:graphic>
      </p:graphicFrame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© Центр стратегических разработок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B281E-F444-1144-B042-5FE9A7BB944A}" type="slidenum">
              <a:rPr lang="ru-RU" smtClean="0">
                <a:gradFill>
                  <a:gsLst>
                    <a:gs pos="0">
                      <a:srgbClr val="002060"/>
                    </a:gs>
                    <a:gs pos="100000">
                      <a:srgbClr val="5B9BD5">
                        <a:lumMod val="75000"/>
                      </a:srgbClr>
                    </a:gs>
                  </a:gsLst>
                  <a:path path="circle">
                    <a:fillToRect t="100000" r="100000"/>
                  </a:path>
                </a:gradFill>
              </a:rPr>
              <a:pPr/>
              <a:t>16</a:t>
            </a:fld>
            <a:endParaRPr lang="ru-RU">
              <a:gradFill>
                <a:gsLst>
                  <a:gs pos="0">
                    <a:srgbClr val="002060"/>
                  </a:gs>
                  <a:gs pos="100000">
                    <a:srgbClr val="5B9BD5">
                      <a:lumMod val="75000"/>
                    </a:srgbClr>
                  </a:gs>
                </a:gsLst>
                <a:path path="circle">
                  <a:fillToRect t="100000" r="100000"/>
                </a:path>
              </a:gradFill>
            </a:endParaRPr>
          </a:p>
        </p:txBody>
      </p:sp>
      <p:sp>
        <p:nvSpPr>
          <p:cNvPr id="8" name="Объект 2"/>
          <p:cNvSpPr txBox="1">
            <a:spLocks/>
          </p:cNvSpPr>
          <p:nvPr/>
        </p:nvSpPr>
        <p:spPr>
          <a:xfrm>
            <a:off x="628652" y="1563532"/>
            <a:ext cx="6270487" cy="224244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85738" indent="-185738" algn="l" defTabSz="742950" rtl="0" eaLnBrk="1" latinLnBrk="0" hangingPunct="1">
              <a:lnSpc>
                <a:spcPct val="90000"/>
              </a:lnSpc>
              <a:spcBef>
                <a:spcPts val="813"/>
              </a:spcBef>
              <a:buFont typeface="Arial"/>
              <a:buChar char="•"/>
              <a:defRPr sz="2275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5572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95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2pPr>
            <a:lvl3pPr marL="9286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625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3pPr>
            <a:lvl4pPr marL="13001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4pPr>
            <a:lvl5pPr marL="16716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</a:pPr>
            <a:r>
              <a:rPr lang="ru-RU" sz="1400" b="1" dirty="0" smtClean="0">
                <a:solidFill>
                  <a:srgbClr val="5B9BD5">
                    <a:lumMod val="75000"/>
                  </a:srgbClr>
                </a:solidFill>
              </a:rPr>
              <a:t>Сложившаяся структура экономики</a:t>
            </a:r>
            <a:endParaRPr lang="ru-RU" sz="1400" dirty="0" smtClean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pPr defTabSz="914400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ысокая доля финансового сектора, научных разработок и интеллектуальных услуг - более 15% ВГП</a:t>
            </a:r>
          </a:p>
          <a:p>
            <a:pPr defTabSz="914400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тносительно невысокая доля секторов здравоохранения и образования, гос. управления и безопасности - не более 15-20% ВГП</a:t>
            </a:r>
          </a:p>
          <a:p>
            <a:pPr defTabSz="914400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Значимое структурное опережение экономики Московской агломерации</a:t>
            </a:r>
          </a:p>
          <a:p>
            <a:pPr marL="0" indent="0">
              <a:buFont typeface="Arial"/>
              <a:buNone/>
            </a:pPr>
            <a:r>
              <a:rPr lang="ru-RU" sz="1400" b="1" dirty="0" smtClean="0">
                <a:solidFill>
                  <a:srgbClr val="5B9BD5">
                    <a:lumMod val="75000"/>
                  </a:srgbClr>
                </a:solidFill>
              </a:rPr>
              <a:t>Роль </a:t>
            </a:r>
            <a:r>
              <a:rPr lang="ru-RU" sz="1400" b="1" dirty="0">
                <a:solidFill>
                  <a:srgbClr val="5B9BD5">
                    <a:lumMod val="75000"/>
                  </a:srgbClr>
                </a:solidFill>
              </a:rPr>
              <a:t>в экономическом росте страны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rgbClr val="5B9BD5">
                    <a:lumMod val="75000"/>
                  </a:srgbClr>
                </a:solidFill>
              </a:rPr>
              <a:t>Устойчивые экономические процессы позволяют развиваться рыночным отраслям современной городской экономики вместо эксплуатации модели развития, основанной на единственной специфической отрасли либо на государственных расходах – </a:t>
            </a:r>
            <a:r>
              <a:rPr lang="ru-RU" sz="1400" b="1" i="1" dirty="0" smtClean="0">
                <a:solidFill>
                  <a:srgbClr val="5B9BD5">
                    <a:lumMod val="75000"/>
                  </a:srgbClr>
                </a:solidFill>
              </a:rPr>
              <a:t>наивысший потенциал инновационного роста</a:t>
            </a:r>
            <a:endParaRPr lang="ru-RU" sz="1400" b="1" i="1" dirty="0">
              <a:solidFill>
                <a:srgbClr val="5B9BD5">
                  <a:lumMod val="75000"/>
                </a:srgbClr>
              </a:solidFill>
            </a:endParaRPr>
          </a:p>
        </p:txBody>
      </p:sp>
      <p:sp>
        <p:nvSpPr>
          <p:cNvPr id="9" name="Объект 2"/>
          <p:cNvSpPr txBox="1">
            <a:spLocks/>
          </p:cNvSpPr>
          <p:nvPr/>
        </p:nvSpPr>
        <p:spPr>
          <a:xfrm>
            <a:off x="608017" y="4293096"/>
            <a:ext cx="6274270" cy="174713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85738" indent="-185738" algn="l" defTabSz="742950" rtl="0" eaLnBrk="1" latinLnBrk="0" hangingPunct="1">
              <a:lnSpc>
                <a:spcPct val="90000"/>
              </a:lnSpc>
              <a:spcBef>
                <a:spcPts val="813"/>
              </a:spcBef>
              <a:buFont typeface="Arial"/>
              <a:buChar char="•"/>
              <a:defRPr sz="2275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5572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95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2pPr>
            <a:lvl3pPr marL="9286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625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3pPr>
            <a:lvl4pPr marL="13001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4pPr>
            <a:lvl5pPr marL="16716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00">
              <a:lnSpc>
                <a:spcPct val="100000"/>
              </a:lnSpc>
              <a:spcBef>
                <a:spcPts val="0"/>
              </a:spcBef>
              <a:buFont typeface="Arial"/>
              <a:buNone/>
            </a:pPr>
            <a:r>
              <a:rPr lang="ru-RU" sz="1400" b="1" dirty="0" smtClean="0">
                <a:solidFill>
                  <a:srgbClr val="5B9BD5">
                    <a:lumMod val="75000"/>
                  </a:srgb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Потенциал структурных  сдвигов</a:t>
            </a:r>
            <a:endParaRPr lang="ru-RU" sz="1400" dirty="0" smtClean="0">
              <a:solidFill>
                <a:prstClr val="black">
                  <a:lumMod val="75000"/>
                  <a:lumOff val="25000"/>
                </a:prst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defTabSz="91440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Естественные структурные сдвиги, не требующие особых мер государственной политики (кроме улучшения общего финансового положения)</a:t>
            </a:r>
          </a:p>
          <a:p>
            <a:pPr defTabSz="91440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осковская агломерация – сохранение текущей структуры, которая соответствует роли этой агломерации в экономическом росте  </a:t>
            </a:r>
          </a:p>
          <a:p>
            <a:pPr defTabSz="91440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ругие 10 агломераций – постепенные сдвиги структуры ВГП к структуре ВГП Московской агломерации при благоприятных условиях (создании необходимой инвестиционной поддержки в инфраструктурных сферах (которые стимулируют развитие всех рыночных отраслей)</a:t>
            </a:r>
          </a:p>
          <a:p>
            <a:pPr marL="0" indent="0" defTabSz="914400">
              <a:lnSpc>
                <a:spcPct val="100000"/>
              </a:lnSpc>
              <a:spcBef>
                <a:spcPts val="0"/>
              </a:spcBef>
              <a:buFont typeface="Arial"/>
              <a:buNone/>
            </a:pPr>
            <a:endParaRPr lang="ru-RU" sz="1400" dirty="0" smtClean="0">
              <a:solidFill>
                <a:prstClr val="black">
                  <a:lumMod val="75000"/>
                  <a:lumOff val="25000"/>
                </a:prst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 defTabSz="914400">
              <a:lnSpc>
                <a:spcPct val="100000"/>
              </a:lnSpc>
              <a:spcBef>
                <a:spcPts val="0"/>
              </a:spcBef>
              <a:buFont typeface="Arial"/>
              <a:buNone/>
            </a:pPr>
            <a:endParaRPr lang="ru-RU" sz="1400" dirty="0">
              <a:solidFill>
                <a:prstClr val="black">
                  <a:lumMod val="75000"/>
                  <a:lumOff val="25000"/>
                </a:prst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 defTabSz="914400">
              <a:lnSpc>
                <a:spcPct val="100000"/>
              </a:lnSpc>
              <a:spcBef>
                <a:spcPts val="0"/>
              </a:spcBef>
              <a:buFont typeface="Arial"/>
              <a:buNone/>
            </a:pPr>
            <a:endParaRPr lang="ru-RU" sz="1400" dirty="0">
              <a:solidFill>
                <a:prstClr val="black">
                  <a:lumMod val="75000"/>
                  <a:lumOff val="25000"/>
                </a:prst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523947" y="6452871"/>
            <a:ext cx="2001713" cy="365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7704517" y="657922"/>
            <a:ext cx="1099243" cy="11283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19109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B281E-F444-1144-B042-5FE9A7BB944A}" type="slidenum">
              <a:rPr lang="ru-RU" smtClean="0">
                <a:gradFill>
                  <a:gsLst>
                    <a:gs pos="0">
                      <a:srgbClr val="002060"/>
                    </a:gs>
                    <a:gs pos="100000">
                      <a:srgbClr val="5B9BD5">
                        <a:lumMod val="75000"/>
                      </a:srgbClr>
                    </a:gs>
                  </a:gsLst>
                  <a:path path="circle">
                    <a:fillToRect t="100000" r="100000"/>
                  </a:path>
                </a:gradFill>
              </a:rPr>
              <a:pPr/>
              <a:t>17</a:t>
            </a:fld>
            <a:endParaRPr lang="ru-RU">
              <a:gradFill>
                <a:gsLst>
                  <a:gs pos="0">
                    <a:srgbClr val="002060"/>
                  </a:gs>
                  <a:gs pos="100000">
                    <a:srgbClr val="5B9BD5">
                      <a:lumMod val="75000"/>
                    </a:srgbClr>
                  </a:gs>
                </a:gsLst>
                <a:path path="circle">
                  <a:fillToRect t="100000" r="100000"/>
                </a:path>
              </a:gradFill>
            </a:endParaRPr>
          </a:p>
        </p:txBody>
      </p:sp>
      <p:sp>
        <p:nvSpPr>
          <p:cNvPr id="8" name="Объект 2"/>
          <p:cNvSpPr txBox="1">
            <a:spLocks/>
          </p:cNvSpPr>
          <p:nvPr/>
        </p:nvSpPr>
        <p:spPr>
          <a:xfrm>
            <a:off x="74377" y="2414481"/>
            <a:ext cx="6899138" cy="20240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85738" indent="-185738" algn="l" defTabSz="742950" rtl="0" eaLnBrk="1" latinLnBrk="0" hangingPunct="1">
              <a:lnSpc>
                <a:spcPct val="90000"/>
              </a:lnSpc>
              <a:spcBef>
                <a:spcPts val="813"/>
              </a:spcBef>
              <a:buFont typeface="Arial"/>
              <a:buChar char="•"/>
              <a:defRPr sz="2275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5572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95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2pPr>
            <a:lvl3pPr marL="9286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625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3pPr>
            <a:lvl4pPr marL="13001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4pPr>
            <a:lvl5pPr marL="16716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itchFamily="2" charset="2"/>
              <a:buChar char="Ø"/>
            </a:pPr>
            <a:endParaRPr lang="ru-RU" sz="16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graphicFrame>
        <p:nvGraphicFramePr>
          <p:cNvPr id="9" name="Объект 8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46270785"/>
              </p:ext>
            </p:extLst>
          </p:nvPr>
        </p:nvGraphicFramePr>
        <p:xfrm>
          <a:off x="7064689" y="2477899"/>
          <a:ext cx="1660750" cy="2720908"/>
        </p:xfrm>
        <a:graphic>
          <a:graphicData uri="http://schemas.openxmlformats.org/drawingml/2006/table">
            <a:tbl>
              <a:tblPr/>
              <a:tblGrid>
                <a:gridCol w="1660750"/>
              </a:tblGrid>
              <a:tr h="303902">
                <a:tc>
                  <a:txBody>
                    <a:bodyPr/>
                    <a:lstStyle/>
                    <a:p>
                      <a:pPr algn="l" fontAlgn="ctr">
                        <a:buAutoNum type="arabicPeriod"/>
                      </a:pP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Владивостокска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1DE"/>
                    </a:solidFill>
                  </a:tcPr>
                </a:tc>
              </a:tr>
              <a:tr h="30390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. Ставропольска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</a:tr>
              <a:tr h="30390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3. Мурманска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</a:tr>
              <a:tr h="30390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4. Красноярска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</a:tr>
              <a:tr h="59359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. Южно-Сахалинска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</a:tr>
              <a:tr h="30390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6. </a:t>
                      </a:r>
                      <a:r>
                        <a:rPr lang="ru-RU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ургутска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</a:tr>
              <a:tr h="30390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7. </a:t>
                      </a:r>
                      <a:r>
                        <a:rPr lang="ru-RU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Альметьевска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</a:tr>
              <a:tr h="30390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8. Новокузнецка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</a:tr>
            </a:tbl>
          </a:graphicData>
        </a:graphic>
      </p:graphicFrame>
      <p:sp>
        <p:nvSpPr>
          <p:cNvPr id="10" name="Объект 2"/>
          <p:cNvSpPr txBox="1">
            <a:spLocks/>
          </p:cNvSpPr>
          <p:nvPr/>
        </p:nvSpPr>
        <p:spPr>
          <a:xfrm>
            <a:off x="645111" y="1848797"/>
            <a:ext cx="6209490" cy="198955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85738" indent="-185738" algn="l" defTabSz="742950" rtl="0" eaLnBrk="1" latinLnBrk="0" hangingPunct="1">
              <a:lnSpc>
                <a:spcPct val="90000"/>
              </a:lnSpc>
              <a:spcBef>
                <a:spcPts val="813"/>
              </a:spcBef>
              <a:buFont typeface="Arial"/>
              <a:buChar char="•"/>
              <a:defRPr sz="2275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5572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95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2pPr>
            <a:lvl3pPr marL="9286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625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3pPr>
            <a:lvl4pPr marL="13001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4pPr>
            <a:lvl5pPr marL="16716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</a:pPr>
            <a:r>
              <a:rPr lang="ru-RU" sz="1300" b="1" dirty="0">
                <a:solidFill>
                  <a:srgbClr val="5B9BD5">
                    <a:lumMod val="75000"/>
                  </a:srgbClr>
                </a:solidFill>
              </a:rPr>
              <a:t>Сложившаяся структура </a:t>
            </a:r>
            <a:r>
              <a:rPr lang="ru-RU" sz="1300" b="1" dirty="0" smtClean="0">
                <a:solidFill>
                  <a:srgbClr val="5B9BD5">
                    <a:lumMod val="75000"/>
                  </a:srgbClr>
                </a:solidFill>
              </a:rPr>
              <a:t>экономики</a:t>
            </a:r>
            <a:endParaRPr lang="ru-RU" sz="1300" dirty="0" smtClean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pPr defTabSz="914400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Экономика агломераций имеет выраженную географическую специализацию в </a:t>
            </a:r>
            <a:r>
              <a:rPr lang="ru-RU" sz="14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есурсодобывающих</a:t>
            </a: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отраслях</a:t>
            </a:r>
          </a:p>
          <a:p>
            <a:pPr defTabSz="914400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ысокая доля в ВГП сектора государственного управления и обеспечения безопасности</a:t>
            </a:r>
          </a:p>
          <a:p>
            <a:pPr defTabSz="914400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изкая диверсификация экономики в рыночных секторах первого эшелона</a:t>
            </a:r>
          </a:p>
          <a:p>
            <a:pPr defTabSz="914400">
              <a:spcBef>
                <a:spcPts val="0"/>
              </a:spcBef>
              <a:buFont typeface="Wingdings" panose="05000000000000000000" pitchFamily="2" charset="2"/>
              <a:buChar char="§"/>
            </a:pPr>
            <a:endParaRPr lang="ru-RU" sz="1400" dirty="0">
              <a:solidFill>
                <a:prstClr val="black">
                  <a:lumMod val="75000"/>
                  <a:lumOff val="25000"/>
                </a:prst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 defTabSz="914400">
              <a:lnSpc>
                <a:spcPct val="100000"/>
              </a:lnSpc>
              <a:spcBef>
                <a:spcPts val="0"/>
              </a:spcBef>
              <a:buFont typeface="Arial"/>
              <a:buNone/>
            </a:pPr>
            <a:r>
              <a:rPr lang="ru-RU" sz="1300" b="1" dirty="0">
                <a:solidFill>
                  <a:srgbClr val="5B9BD5">
                    <a:lumMod val="75000"/>
                  </a:srgb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Роль в экономическом росте страны</a:t>
            </a:r>
          </a:p>
          <a:p>
            <a:pPr marL="0" indent="180975" defTabSz="91440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ru-RU" sz="1300" dirty="0" smtClean="0">
                <a:solidFill>
                  <a:srgbClr val="5B9BD5">
                    <a:lumMod val="75000"/>
                  </a:srgb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Модель развития основана </a:t>
            </a:r>
            <a:r>
              <a:rPr lang="ru-RU" sz="1300" dirty="0">
                <a:solidFill>
                  <a:srgbClr val="5B9BD5">
                    <a:lumMod val="75000"/>
                  </a:srgb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на единственной специфической отрасли </a:t>
            </a:r>
            <a:r>
              <a:rPr lang="ru-RU" sz="1300" dirty="0" smtClean="0">
                <a:solidFill>
                  <a:srgbClr val="5B9BD5">
                    <a:lumMod val="75000"/>
                  </a:srgb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(и поддерживающих отраслях) либо </a:t>
            </a:r>
            <a:r>
              <a:rPr lang="ru-RU" sz="1300" dirty="0">
                <a:solidFill>
                  <a:srgbClr val="5B9BD5">
                    <a:lumMod val="75000"/>
                  </a:srgb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на государственных расходах – </a:t>
            </a:r>
            <a:r>
              <a:rPr lang="ru-RU" sz="1300" b="1" i="1" dirty="0" smtClean="0">
                <a:solidFill>
                  <a:srgbClr val="5B9BD5">
                    <a:lumMod val="75000"/>
                  </a:srgb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важная роль ресурсном экономическом росте (экспортная модель развития)</a:t>
            </a:r>
            <a:endParaRPr lang="ru-RU" sz="1300" b="1" i="1" dirty="0">
              <a:solidFill>
                <a:srgbClr val="5B9BD5">
                  <a:lumMod val="75000"/>
                </a:srgbClr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>
              <a:buFont typeface="Wingdings" pitchFamily="2" charset="2"/>
              <a:buChar char="Ø"/>
            </a:pPr>
            <a:endParaRPr lang="ru-RU" sz="1300" dirty="0" smtClean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1" name="Объект 2"/>
          <p:cNvSpPr txBox="1">
            <a:spLocks/>
          </p:cNvSpPr>
          <p:nvPr/>
        </p:nvSpPr>
        <p:spPr>
          <a:xfrm>
            <a:off x="628654" y="4338123"/>
            <a:ext cx="6058308" cy="137317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85738" indent="-185738" algn="l" defTabSz="742950" rtl="0" eaLnBrk="1" latinLnBrk="0" hangingPunct="1">
              <a:lnSpc>
                <a:spcPct val="90000"/>
              </a:lnSpc>
              <a:spcBef>
                <a:spcPts val="813"/>
              </a:spcBef>
              <a:buFont typeface="Arial"/>
              <a:buChar char="•"/>
              <a:defRPr sz="2275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5572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95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2pPr>
            <a:lvl3pPr marL="9286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625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3pPr>
            <a:lvl4pPr marL="13001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4pPr>
            <a:lvl5pPr marL="16716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00">
              <a:lnSpc>
                <a:spcPct val="100000"/>
              </a:lnSpc>
              <a:spcBef>
                <a:spcPts val="0"/>
              </a:spcBef>
              <a:buFont typeface="Arial"/>
              <a:buNone/>
            </a:pPr>
            <a:r>
              <a:rPr lang="ru-RU" sz="1300" b="1" dirty="0">
                <a:solidFill>
                  <a:srgbClr val="5B9BD5">
                    <a:lumMod val="75000"/>
                  </a:srgb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Потенциал структурных  </a:t>
            </a:r>
            <a:r>
              <a:rPr lang="ru-RU" sz="1300" b="1" dirty="0" smtClean="0">
                <a:solidFill>
                  <a:srgbClr val="5B9BD5">
                    <a:lumMod val="75000"/>
                  </a:srgb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сдвигов</a:t>
            </a:r>
            <a:endParaRPr lang="ru-RU" sz="1300" dirty="0" smtClean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pPr defTabSz="914400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ладивостокская агломерация, являясь центром макрорегиона, особенно сильно нуждается в реструктуризации экономики, например, по модели роста доли обрабатывающей промышленности и вслед за этим долей финансового сектора и сектора интеллектуальных услуг.  Требуются особые меры прямой государственной поддержки </a:t>
            </a:r>
            <a: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еструктуризации</a:t>
            </a:r>
            <a:endParaRPr lang="ru-RU" sz="1400" dirty="0">
              <a:solidFill>
                <a:prstClr val="black">
                  <a:lumMod val="75000"/>
                  <a:lumOff val="25000"/>
                </a:prst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defTabSz="914400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ля других агломераций предпосылки естественных структурных сдвигов очень слабые в условия сохранения общей макроэкономической ресурсной модели и потребности ее реализации в этих агломерациях</a:t>
            </a:r>
          </a:p>
          <a:p>
            <a:pPr>
              <a:buFont typeface="Wingdings" panose="05000000000000000000" pitchFamily="2" charset="2"/>
              <a:buChar char="§"/>
            </a:pPr>
            <a:endParaRPr lang="ru-RU" sz="13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7704517" y="657922"/>
            <a:ext cx="1099243" cy="11283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 smtClean="0"/>
              <a:t>Агломерации с ресурсной экономикой и слабым потенциалом структурных сдвигов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4030765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B281E-F444-1144-B042-5FE9A7BB944A}" type="slidenum">
              <a:rPr lang="ru-RU" smtClean="0">
                <a:gradFill>
                  <a:gsLst>
                    <a:gs pos="0">
                      <a:srgbClr val="002060"/>
                    </a:gs>
                    <a:gs pos="100000">
                      <a:srgbClr val="5B9BD5">
                        <a:lumMod val="75000"/>
                      </a:srgbClr>
                    </a:gs>
                  </a:gsLst>
                  <a:path path="circle">
                    <a:fillToRect t="100000" r="100000"/>
                  </a:path>
                </a:gradFill>
              </a:rPr>
              <a:pPr/>
              <a:t>18</a:t>
            </a:fld>
            <a:endParaRPr lang="ru-RU">
              <a:gradFill>
                <a:gsLst>
                  <a:gs pos="0">
                    <a:srgbClr val="002060"/>
                  </a:gs>
                  <a:gs pos="100000">
                    <a:srgbClr val="5B9BD5">
                      <a:lumMod val="75000"/>
                    </a:srgbClr>
                  </a:gs>
                </a:gsLst>
                <a:path path="circle">
                  <a:fillToRect t="100000" r="100000"/>
                </a:path>
              </a:gradFill>
            </a:endParaRPr>
          </a:p>
        </p:txBody>
      </p:sp>
      <p:sp>
        <p:nvSpPr>
          <p:cNvPr id="8" name="Объект 2"/>
          <p:cNvSpPr txBox="1">
            <a:spLocks/>
          </p:cNvSpPr>
          <p:nvPr/>
        </p:nvSpPr>
        <p:spPr>
          <a:xfrm>
            <a:off x="74377" y="2414481"/>
            <a:ext cx="6899138" cy="20240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85738" indent="-185738" algn="l" defTabSz="742950" rtl="0" eaLnBrk="1" latinLnBrk="0" hangingPunct="1">
              <a:lnSpc>
                <a:spcPct val="90000"/>
              </a:lnSpc>
              <a:spcBef>
                <a:spcPts val="813"/>
              </a:spcBef>
              <a:buFont typeface="Arial"/>
              <a:buChar char="•"/>
              <a:defRPr sz="2275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5572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95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2pPr>
            <a:lvl3pPr marL="9286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625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3pPr>
            <a:lvl4pPr marL="13001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4pPr>
            <a:lvl5pPr marL="16716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itchFamily="2" charset="2"/>
              <a:buChar char="Ø"/>
            </a:pPr>
            <a:endParaRPr lang="ru-RU" sz="16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0" name="Объект 2"/>
          <p:cNvSpPr txBox="1">
            <a:spLocks/>
          </p:cNvSpPr>
          <p:nvPr/>
        </p:nvSpPr>
        <p:spPr>
          <a:xfrm>
            <a:off x="628651" y="1691122"/>
            <a:ext cx="6209490" cy="198955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85738" indent="-185738" algn="l" defTabSz="742950" rtl="0" eaLnBrk="1" latinLnBrk="0" hangingPunct="1">
              <a:lnSpc>
                <a:spcPct val="90000"/>
              </a:lnSpc>
              <a:spcBef>
                <a:spcPts val="813"/>
              </a:spcBef>
              <a:buFont typeface="Arial"/>
              <a:buChar char="•"/>
              <a:defRPr sz="2275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5572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95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2pPr>
            <a:lvl3pPr marL="9286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625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3pPr>
            <a:lvl4pPr marL="13001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4pPr>
            <a:lvl5pPr marL="16716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</a:pPr>
            <a:r>
              <a:rPr lang="ru-RU" sz="1300" b="1" dirty="0">
                <a:solidFill>
                  <a:srgbClr val="5B9BD5">
                    <a:lumMod val="75000"/>
                  </a:srgbClr>
                </a:solidFill>
              </a:rPr>
              <a:t>Сложившаяся структура </a:t>
            </a:r>
            <a:r>
              <a:rPr lang="ru-RU" sz="1300" b="1" dirty="0" smtClean="0">
                <a:solidFill>
                  <a:srgbClr val="5B9BD5">
                    <a:lumMod val="75000"/>
                  </a:srgbClr>
                </a:solidFill>
              </a:rPr>
              <a:t>экономики</a:t>
            </a:r>
            <a:endParaRPr lang="ru-RU" sz="1300" dirty="0" smtClean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pPr defTabSz="914400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Экономика агломераций имеет выраженную специализацию в обрабатывающей промышленности (более 30% ВГП)</a:t>
            </a:r>
          </a:p>
          <a:p>
            <a:pPr defTabSz="914400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ысокая доля в ВГП сектора государственного управления и обеспечения безопасности</a:t>
            </a:r>
          </a:p>
          <a:p>
            <a:pPr defTabSz="914400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изкая диверсификация экономики в рыночных секторах первого </a:t>
            </a:r>
            <a: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эшелона</a:t>
            </a:r>
          </a:p>
          <a:p>
            <a:pPr marL="0" indent="0" defTabSz="914400">
              <a:spcBef>
                <a:spcPts val="0"/>
              </a:spcBef>
              <a:buFont typeface="Arial"/>
              <a:buNone/>
            </a:pPr>
            <a:endParaRPr lang="ru-RU" sz="1400" dirty="0">
              <a:solidFill>
                <a:prstClr val="black">
                  <a:lumMod val="75000"/>
                  <a:lumOff val="25000"/>
                </a:prst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 defTabSz="914400">
              <a:lnSpc>
                <a:spcPct val="100000"/>
              </a:lnSpc>
              <a:spcBef>
                <a:spcPts val="0"/>
              </a:spcBef>
              <a:buFont typeface="Arial"/>
              <a:buNone/>
            </a:pPr>
            <a:r>
              <a:rPr lang="ru-RU" sz="1300" b="1" dirty="0" smtClean="0">
                <a:solidFill>
                  <a:srgbClr val="5B9BD5">
                    <a:lumMod val="75000"/>
                  </a:srgb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Роль </a:t>
            </a:r>
            <a:r>
              <a:rPr lang="ru-RU" sz="1300" b="1" dirty="0">
                <a:solidFill>
                  <a:srgbClr val="5B9BD5">
                    <a:lumMod val="75000"/>
                  </a:srgb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в экономическом росте страны</a:t>
            </a:r>
          </a:p>
          <a:p>
            <a:pPr marL="0" indent="180975" defTabSz="91440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ru-RU" sz="1300" dirty="0" smtClean="0">
                <a:solidFill>
                  <a:srgbClr val="5B9BD5">
                    <a:lumMod val="75000"/>
                  </a:srgb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Модель развития основана </a:t>
            </a:r>
            <a:r>
              <a:rPr lang="ru-RU" sz="1300" dirty="0">
                <a:solidFill>
                  <a:srgbClr val="5B9BD5">
                    <a:lumMod val="75000"/>
                  </a:srgb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на единственной специфической отрасли </a:t>
            </a:r>
            <a:r>
              <a:rPr lang="ru-RU" sz="1300" dirty="0" smtClean="0">
                <a:solidFill>
                  <a:srgbClr val="5B9BD5">
                    <a:lumMod val="75000"/>
                  </a:srgb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(и поддерживающих отраслях) либо </a:t>
            </a:r>
            <a:r>
              <a:rPr lang="ru-RU" sz="1300" dirty="0">
                <a:solidFill>
                  <a:srgbClr val="5B9BD5">
                    <a:lumMod val="75000"/>
                  </a:srgb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на государственных расходах – </a:t>
            </a:r>
            <a:r>
              <a:rPr lang="ru-RU" sz="1300" b="1" i="1" dirty="0" smtClean="0">
                <a:solidFill>
                  <a:srgbClr val="5B9BD5">
                    <a:lumMod val="75000"/>
                  </a:srgb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в условиях слабых конкурентных позиций России в сферах обрабатывающей промышленности роль этих агломераций в росте ВВП низкая, однако важная для диверсификации экономики</a:t>
            </a:r>
            <a:endParaRPr lang="ru-RU" sz="1300" dirty="0" smtClean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1" name="Объект 2"/>
          <p:cNvSpPr txBox="1">
            <a:spLocks/>
          </p:cNvSpPr>
          <p:nvPr/>
        </p:nvSpPr>
        <p:spPr>
          <a:xfrm>
            <a:off x="628655" y="4411395"/>
            <a:ext cx="6058308" cy="137317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85738" indent="-185738" algn="l" defTabSz="742950" rtl="0" eaLnBrk="1" latinLnBrk="0" hangingPunct="1">
              <a:lnSpc>
                <a:spcPct val="90000"/>
              </a:lnSpc>
              <a:spcBef>
                <a:spcPts val="813"/>
              </a:spcBef>
              <a:buFont typeface="Arial"/>
              <a:buChar char="•"/>
              <a:defRPr sz="2275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5572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95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2pPr>
            <a:lvl3pPr marL="9286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625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3pPr>
            <a:lvl4pPr marL="13001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4pPr>
            <a:lvl5pPr marL="16716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00">
              <a:lnSpc>
                <a:spcPct val="100000"/>
              </a:lnSpc>
              <a:spcBef>
                <a:spcPts val="0"/>
              </a:spcBef>
              <a:buFont typeface="Arial"/>
              <a:buNone/>
            </a:pPr>
            <a:r>
              <a:rPr lang="ru-RU" sz="1200" b="1" dirty="0">
                <a:solidFill>
                  <a:srgbClr val="5B9BD5">
                    <a:lumMod val="75000"/>
                  </a:srgb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Потенциал структурных  </a:t>
            </a:r>
            <a:r>
              <a:rPr lang="ru-RU" sz="1200" b="1" dirty="0" smtClean="0">
                <a:solidFill>
                  <a:srgbClr val="5B9BD5">
                    <a:lumMod val="75000"/>
                  </a:srgb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сдвигов</a:t>
            </a:r>
            <a:endParaRPr lang="ru-RU" sz="1200" dirty="0" smtClean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Для 15 агломераций-региональных центров предпосылки естественных структурных сдвигов умеренные – при условии перераспределения ресурсов в госсекторе с текущих расходов (на гос. управление) на расходы в нерыночных отраслях перового эшелона (образование, здравоохранение) в целях развития рыночных секторов первого эшелона, что требует финансовой поддержки с федерального уровня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Для 6 агломераций – </a:t>
            </a:r>
            <a:r>
              <a:rPr lang="ru-RU" sz="1200" dirty="0">
                <a:solidFill>
                  <a:prstClr val="black">
                    <a:lumMod val="75000"/>
                    <a:lumOff val="25000"/>
                  </a:prstClr>
                </a:solidFill>
              </a:rPr>
              <a:t>локальных </a:t>
            </a:r>
            <a:r>
              <a:rPr lang="ru-RU" sz="12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центров предпосылки </a:t>
            </a:r>
            <a:r>
              <a:rPr lang="ru-RU" sz="1200" dirty="0">
                <a:solidFill>
                  <a:prstClr val="black">
                    <a:lumMod val="75000"/>
                    <a:lumOff val="25000"/>
                  </a:prstClr>
                </a:solidFill>
              </a:rPr>
              <a:t>естественных структурных сдвигов </a:t>
            </a:r>
            <a:r>
              <a:rPr lang="ru-RU" sz="12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слабые,</a:t>
            </a:r>
            <a:r>
              <a:rPr lang="en-US" sz="12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ru-RU" sz="12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более вероятно сохранение структуры экономики </a:t>
            </a:r>
          </a:p>
          <a:p>
            <a:pPr>
              <a:buFont typeface="Wingdings" panose="05000000000000000000" pitchFamily="2" charset="2"/>
              <a:buChar char="§"/>
            </a:pPr>
            <a:endParaRPr lang="ru-RU" sz="12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0975177"/>
              </p:ext>
            </p:extLst>
          </p:nvPr>
        </p:nvGraphicFramePr>
        <p:xfrm>
          <a:off x="6851432" y="1963853"/>
          <a:ext cx="2035194" cy="4215789"/>
        </p:xfrm>
        <a:graphic>
          <a:graphicData uri="http://schemas.openxmlformats.org/drawingml/2006/table">
            <a:tbl>
              <a:tblPr/>
              <a:tblGrid>
                <a:gridCol w="2035194"/>
              </a:tblGrid>
              <a:tr h="1972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. </a:t>
                      </a:r>
                      <a:r>
                        <a:rPr lang="ru-RU" sz="10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амарско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-Тольяттин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</a:tr>
              <a:tr h="1972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. Челябин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</a:tr>
              <a:tr h="1972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3. Волгоград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</a:tr>
              <a:tr h="1972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4. Перм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</a:tr>
              <a:tr h="1972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. Саратов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</a:tr>
              <a:tr h="1972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6. Ом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</a:tr>
              <a:tr h="1972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7. Иркут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</a:tr>
              <a:tr h="1972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8. </a:t>
                      </a:r>
                      <a:r>
                        <a:rPr lang="ru-RU" sz="10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Тульско-Новомосков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</a:tr>
              <a:tr h="1972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9. Брян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</a:tr>
              <a:tr h="1972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0. Киров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</a:tr>
              <a:tr h="1972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1. Чебоксар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</a:tr>
              <a:tr h="1972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2. Ижев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</a:tr>
              <a:tr h="6574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3.</a:t>
                      </a:r>
                      <a:r>
                        <a:rPr lang="ru-RU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Липец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4. </a:t>
                      </a:r>
                      <a:r>
                        <a:rPr lang="ru-RU" sz="10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Ярославско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-Рыбин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5 Ульяновска-</a:t>
                      </a:r>
                      <a:r>
                        <a:rPr lang="ru-RU" sz="10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Димитровград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</a:tr>
              <a:tr h="1972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6. Нижне-</a:t>
                      </a:r>
                      <a:r>
                        <a:rPr lang="ru-RU" sz="10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Тагиль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</a:tr>
              <a:tr h="1972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7. Набережно-</a:t>
                      </a:r>
                      <a:r>
                        <a:rPr lang="ru-RU" sz="10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Челнин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</a:tr>
              <a:tr h="1972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8. </a:t>
                      </a:r>
                      <a:r>
                        <a:rPr lang="ru-RU" sz="10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терлитамак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</a:tr>
              <a:tr h="1972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9. </a:t>
                      </a:r>
                      <a:r>
                        <a:rPr lang="ru-RU" sz="10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Ор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</a:tr>
              <a:tr h="1972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0. </a:t>
                      </a:r>
                      <a:r>
                        <a:rPr lang="ru-RU" sz="10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Златоустско-Миас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</a:tr>
              <a:tr h="1972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1. </a:t>
                      </a:r>
                      <a:r>
                        <a:rPr lang="ru-RU" sz="10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тарооскольск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</a:tr>
            </a:tbl>
          </a:graphicData>
        </a:graphic>
      </p:graphicFrame>
      <p:sp>
        <p:nvSpPr>
          <p:cNvPr id="12" name="Прямоугольник 11"/>
          <p:cNvSpPr/>
          <p:nvPr/>
        </p:nvSpPr>
        <p:spPr>
          <a:xfrm>
            <a:off x="7704517" y="657922"/>
            <a:ext cx="1099243" cy="11283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1" y="498434"/>
            <a:ext cx="7266414" cy="1033200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Агломерации с промышленной экономикой и умеренным потенциалом структурных сдвигов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7464378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© Центр стратегических разработок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B281E-F444-1144-B042-5FE9A7BB944A}" type="slidenum">
              <a:rPr lang="ru-RU" smtClean="0">
                <a:gradFill>
                  <a:gsLst>
                    <a:gs pos="0">
                      <a:srgbClr val="002060"/>
                    </a:gs>
                    <a:gs pos="100000">
                      <a:srgbClr val="5B9BD5">
                        <a:lumMod val="75000"/>
                      </a:srgbClr>
                    </a:gs>
                  </a:gsLst>
                  <a:path path="circle">
                    <a:fillToRect t="100000" r="100000"/>
                  </a:path>
                </a:gradFill>
              </a:rPr>
              <a:pPr/>
              <a:t>19</a:t>
            </a:fld>
            <a:endParaRPr lang="ru-RU">
              <a:gradFill>
                <a:gsLst>
                  <a:gs pos="0">
                    <a:srgbClr val="002060"/>
                  </a:gs>
                  <a:gs pos="100000">
                    <a:srgbClr val="5B9BD5">
                      <a:lumMod val="75000"/>
                    </a:srgbClr>
                  </a:gs>
                </a:gsLst>
                <a:path path="circle">
                  <a:fillToRect t="100000" r="100000"/>
                </a:path>
              </a:gradFill>
            </a:endParaRPr>
          </a:p>
        </p:txBody>
      </p:sp>
      <p:sp>
        <p:nvSpPr>
          <p:cNvPr id="8" name="Объект 2"/>
          <p:cNvSpPr txBox="1">
            <a:spLocks/>
          </p:cNvSpPr>
          <p:nvPr/>
        </p:nvSpPr>
        <p:spPr>
          <a:xfrm>
            <a:off x="74377" y="2414481"/>
            <a:ext cx="6899138" cy="20240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85738" indent="-185738" algn="l" defTabSz="742950" rtl="0" eaLnBrk="1" latinLnBrk="0" hangingPunct="1">
              <a:lnSpc>
                <a:spcPct val="90000"/>
              </a:lnSpc>
              <a:spcBef>
                <a:spcPts val="813"/>
              </a:spcBef>
              <a:buFont typeface="Arial"/>
              <a:buChar char="•"/>
              <a:defRPr sz="2275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5572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95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2pPr>
            <a:lvl3pPr marL="9286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625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3pPr>
            <a:lvl4pPr marL="13001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4pPr>
            <a:lvl5pPr marL="16716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itchFamily="2" charset="2"/>
              <a:buChar char="Ø"/>
            </a:pPr>
            <a:endParaRPr lang="ru-RU" sz="16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0" name="Объект 2"/>
          <p:cNvSpPr txBox="1">
            <a:spLocks/>
          </p:cNvSpPr>
          <p:nvPr/>
        </p:nvSpPr>
        <p:spPr>
          <a:xfrm>
            <a:off x="628650" y="1910776"/>
            <a:ext cx="5829301" cy="20240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85738" indent="-185738" algn="l" defTabSz="742950" rtl="0" eaLnBrk="1" latinLnBrk="0" hangingPunct="1">
              <a:lnSpc>
                <a:spcPct val="90000"/>
              </a:lnSpc>
              <a:spcBef>
                <a:spcPts val="813"/>
              </a:spcBef>
              <a:buFont typeface="Arial"/>
              <a:buChar char="•"/>
              <a:defRPr sz="2275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5572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95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2pPr>
            <a:lvl3pPr marL="9286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625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3pPr>
            <a:lvl4pPr marL="13001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4pPr>
            <a:lvl5pPr marL="16716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00">
              <a:lnSpc>
                <a:spcPct val="100000"/>
              </a:lnSpc>
              <a:spcBef>
                <a:spcPts val="0"/>
              </a:spcBef>
              <a:buFont typeface="Arial"/>
              <a:buNone/>
            </a:pPr>
            <a:r>
              <a:rPr lang="ru-RU" sz="1400" b="1" dirty="0">
                <a:solidFill>
                  <a:srgbClr val="5B9BD5">
                    <a:lumMod val="75000"/>
                  </a:srgb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Сложившаяся структура </a:t>
            </a:r>
            <a:r>
              <a:rPr lang="ru-RU" sz="1400" b="1" dirty="0" smtClean="0">
                <a:solidFill>
                  <a:srgbClr val="5B9BD5">
                    <a:lumMod val="75000"/>
                  </a:srgb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экономики</a:t>
            </a:r>
            <a:endParaRPr lang="ru-RU" sz="1400" dirty="0" smtClean="0">
              <a:solidFill>
                <a:prstClr val="black">
                  <a:lumMod val="75000"/>
                  <a:lumOff val="25000"/>
                </a:prst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Отсутствие доминирующих производственных или </a:t>
            </a:r>
            <a:r>
              <a:rPr lang="ru-RU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ресурсодобывающих</a:t>
            </a: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отраслей первого и второго эшелона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Секторы здравоохранения, образования, государственного управления составляют предельно высокие доли экономики (от 30% до 50%)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С учетом критически </a:t>
            </a:r>
            <a: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низких </a:t>
            </a: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значений ВГП на душу населения (в 4-5 раз ниже среднего по стране) можно выводы о предельно высокой доле серой экономики (скрытых </a:t>
            </a:r>
            <a: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статистик</a:t>
            </a: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е</a:t>
            </a:r>
            <a: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доходов)</a:t>
            </a:r>
          </a:p>
          <a:p>
            <a:pPr marL="0" indent="0" defTabSz="914400">
              <a:lnSpc>
                <a:spcPct val="100000"/>
              </a:lnSpc>
              <a:spcBef>
                <a:spcPts val="0"/>
              </a:spcBef>
              <a:buFont typeface="Arial"/>
              <a:buNone/>
            </a:pPr>
            <a:r>
              <a:rPr lang="ru-RU" sz="1400" b="1" dirty="0">
                <a:solidFill>
                  <a:srgbClr val="5B9BD5">
                    <a:lumMod val="75000"/>
                  </a:srgb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Роль в экономическом росте страны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rgbClr val="5B9BD5">
                    <a:lumMod val="75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ка эти агломерации не выполняют роли в экономическом росте страны , модель их экономики ориентирована на удовлетворении самых базовых локальных потребностей населения и не имеет перспектив роста из-за разрыва между частным и государственным сектором </a:t>
            </a:r>
            <a:endParaRPr lang="ru-RU" sz="1400" dirty="0">
              <a:solidFill>
                <a:srgbClr val="5B9BD5">
                  <a:lumMod val="75000"/>
                </a:srgb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 defTabSz="914400">
              <a:lnSpc>
                <a:spcPct val="100000"/>
              </a:lnSpc>
              <a:spcBef>
                <a:spcPts val="0"/>
              </a:spcBef>
              <a:buFont typeface="Arial"/>
              <a:buNone/>
            </a:pPr>
            <a:r>
              <a:rPr lang="ru-RU" sz="1400" b="1" dirty="0">
                <a:solidFill>
                  <a:srgbClr val="5B9BD5">
                    <a:lumMod val="75000"/>
                  </a:srgb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Потенциал структурных  сдвигов</a:t>
            </a:r>
            <a:endParaRPr lang="ru-RU" sz="1400" dirty="0">
              <a:solidFill>
                <a:prstClr val="black">
                  <a:lumMod val="75000"/>
                  <a:lumOff val="25000"/>
                </a:prstClr>
              </a:solidFill>
              <a:latin typeface="Calibri"/>
              <a:ea typeface="+mn-ea"/>
            </a:endParaRPr>
          </a:p>
          <a:p>
            <a:pPr>
              <a:buFont typeface="Wingdings" panose="05000000000000000000" pitchFamily="2" charset="2"/>
              <a:buChar char="§"/>
            </a:pPr>
            <a:endParaRPr lang="en-US" sz="1400" dirty="0" smtClean="0">
              <a:solidFill>
                <a:prstClr val="black">
                  <a:lumMod val="75000"/>
                  <a:lumOff val="25000"/>
                </a:prst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buFont typeface="Wingdings" pitchFamily="2" charset="2"/>
              <a:buChar char="Ø"/>
            </a:pP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buFont typeface="Wingdings" pitchFamily="2" charset="2"/>
              <a:buChar char="Ø"/>
            </a:pPr>
            <a:endParaRPr lang="ru-RU" sz="1400" dirty="0" smtClean="0">
              <a:solidFill>
                <a:prstClr val="black">
                  <a:lumMod val="75000"/>
                  <a:lumOff val="25000"/>
                </a:prst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buFont typeface="Wingdings" pitchFamily="2" charset="2"/>
              <a:buChar char="Ø"/>
            </a:pPr>
            <a:endParaRPr lang="ru-RU" sz="1400" dirty="0" smtClean="0">
              <a:solidFill>
                <a:prstClr val="black">
                  <a:lumMod val="75000"/>
                  <a:lumOff val="25000"/>
                </a:prst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buFont typeface="Wingdings" pitchFamily="2" charset="2"/>
              <a:buChar char="Ø"/>
            </a:pPr>
            <a:endParaRPr lang="ru-RU" sz="1400" dirty="0" smtClean="0">
              <a:solidFill>
                <a:prstClr val="black">
                  <a:lumMod val="75000"/>
                  <a:lumOff val="25000"/>
                </a:prst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9" name="Объект 8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72476439"/>
              </p:ext>
            </p:extLst>
          </p:nvPr>
        </p:nvGraphicFramePr>
        <p:xfrm>
          <a:off x="6973519" y="2779978"/>
          <a:ext cx="1688045" cy="1293050"/>
        </p:xfrm>
        <a:graphic>
          <a:graphicData uri="http://schemas.openxmlformats.org/drawingml/2006/table">
            <a:tbl>
              <a:tblPr/>
              <a:tblGrid>
                <a:gridCol w="1688045"/>
              </a:tblGrid>
              <a:tr h="258610">
                <a:tc>
                  <a:txBody>
                    <a:bodyPr/>
                    <a:lstStyle/>
                    <a:p>
                      <a:pPr algn="l" fontAlgn="ctr">
                        <a:buAutoNum type="arabicPeriod"/>
                      </a:pP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Владикавказска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</a:tr>
              <a:tr h="25861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. Абаканска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</a:tr>
              <a:tr h="25861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3. </a:t>
                      </a:r>
                      <a:r>
                        <a:rPr lang="ru-RU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Кавминводска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</a:tr>
              <a:tr h="25861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4. Барнаульска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</a:tr>
              <a:tr h="25861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. Махачкалинска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</a:tr>
            </a:tbl>
          </a:graphicData>
        </a:graphic>
      </p:graphicFrame>
      <p:sp>
        <p:nvSpPr>
          <p:cNvPr id="11" name="Объект 2"/>
          <p:cNvSpPr txBox="1">
            <a:spLocks/>
          </p:cNvSpPr>
          <p:nvPr/>
        </p:nvSpPr>
        <p:spPr>
          <a:xfrm>
            <a:off x="628650" y="5422605"/>
            <a:ext cx="5969976" cy="68869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85738" indent="-185738" algn="l" defTabSz="742950" rtl="0" eaLnBrk="1" latinLnBrk="0" hangingPunct="1">
              <a:lnSpc>
                <a:spcPct val="90000"/>
              </a:lnSpc>
              <a:spcBef>
                <a:spcPts val="813"/>
              </a:spcBef>
              <a:buFont typeface="Arial"/>
              <a:buChar char="•"/>
              <a:defRPr sz="2275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5572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95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2pPr>
            <a:lvl3pPr marL="9286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625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3pPr>
            <a:lvl4pPr marL="13001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4pPr>
            <a:lvl5pPr marL="16716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Потенциал структурных сдвигов оценить нельзя, приоритетной задачей является радикальное сокращение доли серой экономики</a:t>
            </a:r>
          </a:p>
          <a:p>
            <a:pPr>
              <a:buFont typeface="Wingdings" pitchFamily="2" charset="2"/>
              <a:buChar char="Ø"/>
            </a:pPr>
            <a:endParaRPr lang="ru-RU" sz="1400" dirty="0" smtClean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pPr>
              <a:buFont typeface="Wingdings" pitchFamily="2" charset="2"/>
              <a:buChar char="Ø"/>
            </a:pPr>
            <a:endParaRPr lang="ru-RU" sz="1400" dirty="0" smtClean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523947" y="6356364"/>
            <a:ext cx="2001713" cy="365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7704517" y="657922"/>
            <a:ext cx="1099243" cy="11283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Агломерации с депрессивной экономикой и неясными перспективами структурных сдвигов</a:t>
            </a:r>
          </a:p>
        </p:txBody>
      </p:sp>
    </p:spTree>
    <p:extLst>
      <p:ext uri="{BB962C8B-B14F-4D97-AF65-F5344CB8AC3E}">
        <p14:creationId xmlns:p14="http://schemas.microsoft.com/office/powerpoint/2010/main" val="38436799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683568" y="657922"/>
            <a:ext cx="7266414" cy="1033200"/>
          </a:xfrm>
        </p:spPr>
        <p:txBody>
          <a:bodyPr>
            <a:normAutofit/>
          </a:bodyPr>
          <a:lstStyle/>
          <a:p>
            <a:r>
              <a:rPr lang="ru-RU" sz="2400" dirty="0" smtClean="0"/>
              <a:t>Экономика крупнейших городских агломераций</a:t>
            </a:r>
            <a:endParaRPr lang="ru-RU" sz="2400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7704517" y="657922"/>
            <a:ext cx="1099243" cy="11283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6" name="Объект 2"/>
          <p:cNvSpPr>
            <a:spLocks noGrp="1"/>
          </p:cNvSpPr>
          <p:nvPr>
            <p:ph idx="1"/>
          </p:nvPr>
        </p:nvSpPr>
        <p:spPr>
          <a:xfrm>
            <a:off x="467544" y="1484784"/>
            <a:ext cx="7596554" cy="4525963"/>
          </a:xfrm>
        </p:spPr>
        <p:txBody>
          <a:bodyPr>
            <a:normAutofit/>
          </a:bodyPr>
          <a:lstStyle/>
          <a:p>
            <a:pPr lvl="0" algn="just"/>
            <a:r>
              <a:rPr lang="ru-RU" dirty="0"/>
              <a:t>Какая структура экономики характерна для крупнейших городов и городских агломераций и отвечает ли она современным трендам экономического роста?</a:t>
            </a:r>
          </a:p>
          <a:p>
            <a:pPr lvl="0" algn="just"/>
            <a:r>
              <a:rPr lang="ru-RU" dirty="0"/>
              <a:t>Наблюдаются ли позитивные структурные изменения в экономке отдельных крупнейших городов и городских агломераций, несмотря на их отсутствие в экономике страны в целом? И если да, то где?</a:t>
            </a:r>
          </a:p>
          <a:p>
            <a:pPr lvl="0" algn="just"/>
            <a:r>
              <a:rPr lang="ru-RU" dirty="0" smtClean="0"/>
              <a:t>Какие </a:t>
            </a:r>
            <a:r>
              <a:rPr lang="ru-RU" dirty="0"/>
              <a:t>меры государственной поддержки необходимы разным типам  крупнейших городов и городских агломераций в зависимости от их текущей и перспективной роли в обеспечении экономического роста страны</a:t>
            </a:r>
            <a:r>
              <a:rPr lang="ru-RU" dirty="0" smtClean="0"/>
              <a:t>?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349825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© Центр стратегических разработок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B281E-F444-1144-B042-5FE9A7BB944A}" type="slidenum">
              <a:rPr lang="ru-RU" smtClean="0">
                <a:gradFill>
                  <a:gsLst>
                    <a:gs pos="0">
                      <a:srgbClr val="002060"/>
                    </a:gs>
                    <a:gs pos="100000">
                      <a:srgbClr val="5B9BD5">
                        <a:lumMod val="75000"/>
                      </a:srgbClr>
                    </a:gs>
                  </a:gsLst>
                  <a:path path="circle">
                    <a:fillToRect t="100000" r="100000"/>
                  </a:path>
                </a:gradFill>
              </a:rPr>
              <a:pPr/>
              <a:t>20</a:t>
            </a:fld>
            <a:endParaRPr lang="ru-RU">
              <a:gradFill>
                <a:gsLst>
                  <a:gs pos="0">
                    <a:srgbClr val="002060"/>
                  </a:gs>
                  <a:gs pos="100000">
                    <a:srgbClr val="5B9BD5">
                      <a:lumMod val="75000"/>
                    </a:srgbClr>
                  </a:gs>
                </a:gsLst>
                <a:path path="circle">
                  <a:fillToRect t="100000" r="100000"/>
                </a:path>
              </a:gradFill>
            </a:endParaRPr>
          </a:p>
        </p:txBody>
      </p:sp>
      <p:sp>
        <p:nvSpPr>
          <p:cNvPr id="8" name="Объект 2"/>
          <p:cNvSpPr txBox="1">
            <a:spLocks/>
          </p:cNvSpPr>
          <p:nvPr/>
        </p:nvSpPr>
        <p:spPr>
          <a:xfrm>
            <a:off x="74377" y="2414481"/>
            <a:ext cx="6899138" cy="20240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85738" indent="-185738" algn="l" defTabSz="742950" rtl="0" eaLnBrk="1" latinLnBrk="0" hangingPunct="1">
              <a:lnSpc>
                <a:spcPct val="90000"/>
              </a:lnSpc>
              <a:spcBef>
                <a:spcPts val="813"/>
              </a:spcBef>
              <a:buFont typeface="Arial"/>
              <a:buChar char="•"/>
              <a:defRPr sz="2275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5572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95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2pPr>
            <a:lvl3pPr marL="9286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625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3pPr>
            <a:lvl4pPr marL="13001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4pPr>
            <a:lvl5pPr marL="16716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itchFamily="2" charset="2"/>
              <a:buChar char="Ø"/>
            </a:pPr>
            <a:endParaRPr lang="ru-RU" sz="16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0" name="Объект 2"/>
          <p:cNvSpPr txBox="1">
            <a:spLocks/>
          </p:cNvSpPr>
          <p:nvPr/>
        </p:nvSpPr>
        <p:spPr>
          <a:xfrm>
            <a:off x="628650" y="1910776"/>
            <a:ext cx="5829301" cy="20240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85738" indent="-185738" algn="l" defTabSz="742950" rtl="0" eaLnBrk="1" latinLnBrk="0" hangingPunct="1">
              <a:lnSpc>
                <a:spcPct val="90000"/>
              </a:lnSpc>
              <a:spcBef>
                <a:spcPts val="813"/>
              </a:spcBef>
              <a:buFont typeface="Arial"/>
              <a:buChar char="•"/>
              <a:defRPr sz="2275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5572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95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2pPr>
            <a:lvl3pPr marL="9286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625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3pPr>
            <a:lvl4pPr marL="13001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4pPr>
            <a:lvl5pPr marL="16716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00">
              <a:lnSpc>
                <a:spcPct val="100000"/>
              </a:lnSpc>
              <a:spcBef>
                <a:spcPts val="0"/>
              </a:spcBef>
              <a:buFont typeface="Arial"/>
              <a:buNone/>
            </a:pPr>
            <a:r>
              <a:rPr lang="ru-RU" sz="1400" b="1" dirty="0">
                <a:solidFill>
                  <a:srgbClr val="5B9BD5">
                    <a:lumMod val="75000"/>
                  </a:srgb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Сложившаяся структура </a:t>
            </a:r>
            <a:r>
              <a:rPr lang="ru-RU" sz="1400" b="1" dirty="0" smtClean="0">
                <a:solidFill>
                  <a:srgbClr val="5B9BD5">
                    <a:lumMod val="75000"/>
                  </a:srgb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экономики</a:t>
            </a:r>
            <a:endParaRPr lang="ru-RU" sz="1400" dirty="0" smtClean="0">
              <a:solidFill>
                <a:prstClr val="black">
                  <a:lumMod val="75000"/>
                  <a:lumOff val="25000"/>
                </a:prst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Отсутствие доминирующих производственных или </a:t>
            </a:r>
            <a:r>
              <a:rPr lang="ru-RU" sz="1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ресурсодобывающих</a:t>
            </a: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отраслей первого и второго эшелона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Секторы здравоохранения, образования, государственного управления составляют предельно высокие доли экономики (от 30% до 50%)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С учетом критически </a:t>
            </a:r>
            <a: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низких </a:t>
            </a: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значений ВГП на душу населения (в 4-5 раз ниже среднего по стране) можно выводы о предельно высокой доле серой экономики (скрытых </a:t>
            </a:r>
            <a: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статистик</a:t>
            </a: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е</a:t>
            </a:r>
            <a: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доходов)</a:t>
            </a:r>
          </a:p>
          <a:p>
            <a:pPr marL="0" indent="0" defTabSz="914400">
              <a:lnSpc>
                <a:spcPct val="100000"/>
              </a:lnSpc>
              <a:spcBef>
                <a:spcPts val="0"/>
              </a:spcBef>
              <a:buFont typeface="Arial"/>
              <a:buNone/>
            </a:pPr>
            <a:r>
              <a:rPr lang="ru-RU" sz="1400" b="1" dirty="0">
                <a:solidFill>
                  <a:srgbClr val="5B9BD5">
                    <a:lumMod val="75000"/>
                  </a:srgb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Роль в экономическом росте страны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rgbClr val="5B9BD5">
                    <a:lumMod val="75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ка эти агломерации не выполняют роли в экономическом росте страны , модель их экономики ориентирована на удовлетворении самых базовых локальных потребностей населения и не имеет перспектив роста из-за разрыва между частным и государственным сектором </a:t>
            </a:r>
            <a:endParaRPr lang="ru-RU" sz="1400" dirty="0">
              <a:solidFill>
                <a:srgbClr val="5B9BD5">
                  <a:lumMod val="75000"/>
                </a:srgb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 defTabSz="914400">
              <a:lnSpc>
                <a:spcPct val="100000"/>
              </a:lnSpc>
              <a:spcBef>
                <a:spcPts val="0"/>
              </a:spcBef>
              <a:buFont typeface="Arial"/>
              <a:buNone/>
            </a:pPr>
            <a:r>
              <a:rPr lang="ru-RU" sz="1400" b="1" dirty="0">
                <a:solidFill>
                  <a:srgbClr val="5B9BD5">
                    <a:lumMod val="75000"/>
                  </a:srgb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Потенциал структурных  сдвигов</a:t>
            </a:r>
            <a:endParaRPr lang="ru-RU" sz="1400" dirty="0">
              <a:solidFill>
                <a:prstClr val="black">
                  <a:lumMod val="75000"/>
                  <a:lumOff val="25000"/>
                </a:prstClr>
              </a:solidFill>
              <a:latin typeface="Calibri"/>
              <a:ea typeface="+mn-ea"/>
            </a:endParaRPr>
          </a:p>
          <a:p>
            <a:pPr>
              <a:buFont typeface="Wingdings" panose="05000000000000000000" pitchFamily="2" charset="2"/>
              <a:buChar char="§"/>
            </a:pPr>
            <a:endParaRPr lang="en-US" sz="1400" dirty="0" smtClean="0">
              <a:solidFill>
                <a:prstClr val="black">
                  <a:lumMod val="75000"/>
                  <a:lumOff val="25000"/>
                </a:prst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buFont typeface="Wingdings" pitchFamily="2" charset="2"/>
              <a:buChar char="Ø"/>
            </a:pP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buFont typeface="Wingdings" pitchFamily="2" charset="2"/>
              <a:buChar char="Ø"/>
            </a:pPr>
            <a:endParaRPr lang="ru-RU" sz="1400" dirty="0" smtClean="0">
              <a:solidFill>
                <a:prstClr val="black">
                  <a:lumMod val="75000"/>
                  <a:lumOff val="25000"/>
                </a:prst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buFont typeface="Wingdings" pitchFamily="2" charset="2"/>
              <a:buChar char="Ø"/>
            </a:pPr>
            <a:endParaRPr lang="ru-RU" sz="1400" dirty="0" smtClean="0">
              <a:solidFill>
                <a:prstClr val="black">
                  <a:lumMod val="75000"/>
                  <a:lumOff val="25000"/>
                </a:prst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buFont typeface="Wingdings" pitchFamily="2" charset="2"/>
              <a:buChar char="Ø"/>
            </a:pPr>
            <a:endParaRPr lang="ru-RU" sz="1400" dirty="0" smtClean="0">
              <a:solidFill>
                <a:prstClr val="black">
                  <a:lumMod val="75000"/>
                  <a:lumOff val="25000"/>
                </a:prst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9" name="Объект 8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33894696"/>
              </p:ext>
            </p:extLst>
          </p:nvPr>
        </p:nvGraphicFramePr>
        <p:xfrm>
          <a:off x="6973519" y="2779978"/>
          <a:ext cx="1688045" cy="1293050"/>
        </p:xfrm>
        <a:graphic>
          <a:graphicData uri="http://schemas.openxmlformats.org/drawingml/2006/table">
            <a:tbl>
              <a:tblPr/>
              <a:tblGrid>
                <a:gridCol w="1688045"/>
              </a:tblGrid>
              <a:tr h="258610">
                <a:tc>
                  <a:txBody>
                    <a:bodyPr/>
                    <a:lstStyle/>
                    <a:p>
                      <a:pPr algn="l" fontAlgn="ctr">
                        <a:buAutoNum type="arabicPeriod"/>
                      </a:pP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Владикавказска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</a:tr>
              <a:tr h="25861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. Абаканска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</a:tr>
              <a:tr h="25861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3. </a:t>
                      </a:r>
                      <a:r>
                        <a:rPr lang="ru-RU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Кавминводска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</a:tr>
              <a:tr h="25861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4. Барнаульска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</a:tr>
              <a:tr h="25861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. Махачкалинска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7845" marR="7845" marT="84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DCDB"/>
                    </a:solidFill>
                  </a:tcPr>
                </a:tc>
              </a:tr>
            </a:tbl>
          </a:graphicData>
        </a:graphic>
      </p:graphicFrame>
      <p:sp>
        <p:nvSpPr>
          <p:cNvPr id="11" name="Объект 2"/>
          <p:cNvSpPr txBox="1">
            <a:spLocks/>
          </p:cNvSpPr>
          <p:nvPr/>
        </p:nvSpPr>
        <p:spPr>
          <a:xfrm>
            <a:off x="628650" y="5422605"/>
            <a:ext cx="5969976" cy="68869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85738" indent="-185738" algn="l" defTabSz="742950" rtl="0" eaLnBrk="1" latinLnBrk="0" hangingPunct="1">
              <a:lnSpc>
                <a:spcPct val="90000"/>
              </a:lnSpc>
              <a:spcBef>
                <a:spcPts val="813"/>
              </a:spcBef>
              <a:buFont typeface="Arial"/>
              <a:buChar char="•"/>
              <a:defRPr sz="2275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5572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95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2pPr>
            <a:lvl3pPr marL="9286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625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3pPr>
            <a:lvl4pPr marL="13001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4pPr>
            <a:lvl5pPr marL="16716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Потенциал структурных сдвигов оценить нельзя, приоритетной задачей является радикальное сокращение доли серой экономики</a:t>
            </a:r>
          </a:p>
          <a:p>
            <a:pPr>
              <a:buFont typeface="Wingdings" pitchFamily="2" charset="2"/>
              <a:buChar char="Ø"/>
            </a:pPr>
            <a:endParaRPr lang="ru-RU" sz="1400" dirty="0" smtClean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pPr>
              <a:buFont typeface="Wingdings" pitchFamily="2" charset="2"/>
              <a:buChar char="Ø"/>
            </a:pPr>
            <a:endParaRPr lang="ru-RU" sz="1400" dirty="0" smtClean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7704517" y="657922"/>
            <a:ext cx="1099243" cy="11283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Агломерации с депрессивной экономикой и неясными перспективами структурных сдвигов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3523947" y="6356364"/>
            <a:ext cx="2001713" cy="365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001934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B281E-F444-1144-B042-5FE9A7BB944A}" type="slidenum">
              <a:rPr lang="ru-RU" smtClean="0">
                <a:gradFill>
                  <a:gsLst>
                    <a:gs pos="0">
                      <a:srgbClr val="002060"/>
                    </a:gs>
                    <a:gs pos="100000">
                      <a:srgbClr val="5B9BD5">
                        <a:lumMod val="75000"/>
                      </a:srgbClr>
                    </a:gs>
                  </a:gsLst>
                  <a:path path="circle">
                    <a:fillToRect t="100000" r="100000"/>
                  </a:path>
                </a:gradFill>
              </a:rPr>
              <a:pPr/>
              <a:t>21</a:t>
            </a:fld>
            <a:endParaRPr lang="ru-RU">
              <a:gradFill>
                <a:gsLst>
                  <a:gs pos="0">
                    <a:srgbClr val="002060"/>
                  </a:gs>
                  <a:gs pos="100000">
                    <a:srgbClr val="5B9BD5">
                      <a:lumMod val="75000"/>
                    </a:srgbClr>
                  </a:gs>
                </a:gsLst>
                <a:path path="circle">
                  <a:fillToRect t="100000" r="100000"/>
                </a:path>
              </a:gradFill>
            </a:endParaRPr>
          </a:p>
        </p:txBody>
      </p:sp>
      <p:sp>
        <p:nvSpPr>
          <p:cNvPr id="8" name="Объект 2"/>
          <p:cNvSpPr txBox="1">
            <a:spLocks/>
          </p:cNvSpPr>
          <p:nvPr/>
        </p:nvSpPr>
        <p:spPr>
          <a:xfrm>
            <a:off x="74377" y="2414481"/>
            <a:ext cx="6899138" cy="20240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85738" indent="-185738" algn="l" defTabSz="742950" rtl="0" eaLnBrk="1" latinLnBrk="0" hangingPunct="1">
              <a:lnSpc>
                <a:spcPct val="90000"/>
              </a:lnSpc>
              <a:spcBef>
                <a:spcPts val="813"/>
              </a:spcBef>
              <a:buFont typeface="Arial"/>
              <a:buChar char="•"/>
              <a:defRPr sz="2275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5572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95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2pPr>
            <a:lvl3pPr marL="9286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625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3pPr>
            <a:lvl4pPr marL="13001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4pPr>
            <a:lvl5pPr marL="16716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itchFamily="2" charset="2"/>
              <a:buChar char="Ø"/>
            </a:pPr>
            <a:endParaRPr lang="ru-RU" sz="16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7704517" y="657922"/>
            <a:ext cx="1099243" cy="11283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Выводы и рекомендации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6" y="1414133"/>
            <a:ext cx="7886700" cy="4762833"/>
          </a:xfrm>
        </p:spPr>
        <p:txBody>
          <a:bodyPr>
            <a:normAutofit lnSpcReduction="10000"/>
          </a:bodyPr>
          <a:lstStyle/>
          <a:p>
            <a:r>
              <a:rPr lang="ru-RU" dirty="0" smtClean="0"/>
              <a:t>Эффективная реализация национальных проектов, а также Стратегии пространственного развития России требует дифференциации мер в зависимости от текущего состояния и потенциала экономики городов и агломераций:</a:t>
            </a:r>
          </a:p>
          <a:p>
            <a:pPr lvl="1">
              <a:buFontTx/>
              <a:buChar char="-"/>
            </a:pPr>
            <a:r>
              <a:rPr lang="ru-RU" sz="2100" b="1" dirty="0" smtClean="0"/>
              <a:t>11 наиболее развитых агломераций </a:t>
            </a:r>
            <a:r>
              <a:rPr lang="ru-RU" sz="2100" dirty="0" smtClean="0"/>
              <a:t>- финансовая поддержка  без вмешательства в выработку решений на локальном уровне</a:t>
            </a:r>
          </a:p>
          <a:p>
            <a:pPr lvl="1">
              <a:buFontTx/>
              <a:buChar char="-"/>
            </a:pPr>
            <a:r>
              <a:rPr lang="ru-RU" sz="2100" b="1" dirty="0" smtClean="0"/>
              <a:t>8 агломераций с ресурсной экономикой</a:t>
            </a:r>
            <a:r>
              <a:rPr lang="ru-RU" sz="2100" dirty="0"/>
              <a:t> </a:t>
            </a:r>
            <a:r>
              <a:rPr lang="ru-RU" sz="2100" dirty="0" smtClean="0"/>
              <a:t>- обеспечение необходимого качества жизни без структурных изменений</a:t>
            </a:r>
          </a:p>
          <a:p>
            <a:pPr lvl="1">
              <a:buFontTx/>
              <a:buChar char="-"/>
            </a:pPr>
            <a:r>
              <a:rPr lang="ru-RU" sz="2100" b="1" dirty="0" smtClean="0"/>
              <a:t>21 агломерация с промышленной экономикой </a:t>
            </a:r>
            <a:r>
              <a:rPr lang="ru-RU" sz="2100" dirty="0" smtClean="0"/>
              <a:t>- специальные меры по реструктуризации экономики и финансовая поддержка</a:t>
            </a:r>
          </a:p>
          <a:p>
            <a:pPr lvl="1">
              <a:buFontTx/>
              <a:buChar char="-"/>
            </a:pPr>
            <a:r>
              <a:rPr lang="ru-RU" sz="2100" b="1" dirty="0" smtClean="0"/>
              <a:t>5 агломераций с «серой экономикой»</a:t>
            </a:r>
            <a:r>
              <a:rPr lang="ru-RU" sz="2100" dirty="0"/>
              <a:t> </a:t>
            </a:r>
            <a:r>
              <a:rPr lang="ru-RU" sz="2100" dirty="0" smtClean="0"/>
              <a:t>-  специальные меры по переводу экономической деятельности в «белую» зону</a:t>
            </a:r>
          </a:p>
          <a:p>
            <a:pPr>
              <a:buFontTx/>
              <a:buChar char="-"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9386520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3" name="Picture 3" descr="\\fss\АИЖК 2017\Мат-лы Habidatum\ИТОГОВАЯ итерация\Карты (плотность + связанные территорий)\krasnodar_all_layers_2018-02-28.jpe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388942"/>
            <a:ext cx="7719866" cy="54596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0" y="0"/>
            <a:ext cx="9144000" cy="141277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ctr"/>
          <a:lstStyle/>
          <a:p>
            <a:pPr algn="ctr" defTabSz="914290"/>
            <a:endParaRPr lang="ru-RU" sz="28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34888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раткая характеристика градостроительного развития </a:t>
            </a:r>
            <a:r>
              <a:rPr lang="ru-RU" sz="2000" b="1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/>
            </a:r>
            <a:br>
              <a:rPr lang="ru-RU" sz="2000" b="1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ru-RU" sz="2000" b="1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раснодарской </a:t>
            </a:r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гломерации</a:t>
            </a:r>
            <a:b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ru-RU" sz="1600" i="1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Основано на исследовании «Анализ состояния жилищной сферы на территориях основных российских городских агломераций», выполненного по заказу АО "ДОМ.РФ")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51520" y="1556792"/>
            <a:ext cx="8229600" cy="5112568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buFont typeface="Wingdings" panose="05000000000000000000" pitchFamily="2" charset="2"/>
              <a:buChar char="v"/>
            </a:pP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FF39AB-B043-4145-9443-2A657DCFEAC8}" type="slidenum">
              <a:rPr lang="ru-RU" smtClean="0">
                <a:solidFill>
                  <a:prstClr val="white"/>
                </a:solidFill>
              </a:rPr>
              <a:pPr/>
              <a:t>22</a:t>
            </a:fld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5122" name="Picture 2" descr="\\fss\АИЖК 2017\Мат-лы Habidatum\ИТОГОВАЯ итерация\Графики средней плотности\krasnodar_res_density_by_zone_2018-03-01_abline.jpe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050" y="1561696"/>
            <a:ext cx="3904952" cy="186730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3" name="Таблица 12">
            <a:extLst>
              <a:ext uri="{FF2B5EF4-FFF2-40B4-BE49-F238E27FC236}">
                <a16:creationId xmlns="" xmlns:a16="http://schemas.microsoft.com/office/drawing/2014/main" id="{3A351214-A672-5C4E-8296-88635326FE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447214"/>
              </p:ext>
            </p:extLst>
          </p:nvPr>
        </p:nvGraphicFramePr>
        <p:xfrm>
          <a:off x="5057078" y="3645024"/>
          <a:ext cx="3851920" cy="2923336"/>
        </p:xfrm>
        <a:graphic>
          <a:graphicData uri="http://schemas.openxmlformats.org/drawingml/2006/table">
            <a:tbl>
              <a:tblPr bandRow="1">
                <a:tableStyleId>{793D81CF-94F2-401A-BA57-92F5A7B2D0C5}</a:tableStyleId>
              </a:tblPr>
              <a:tblGrid>
                <a:gridCol w="2372543">
                  <a:extLst>
                    <a:ext uri="{9D8B030D-6E8A-4147-A177-3AD203B41FA5}">
                      <a16:colId xmlns="" xmlns:a16="http://schemas.microsoft.com/office/drawing/2014/main" val="3751328335"/>
                    </a:ext>
                  </a:extLst>
                </a:gridCol>
                <a:gridCol w="1479377">
                  <a:extLst>
                    <a:ext uri="{9D8B030D-6E8A-4147-A177-3AD203B41FA5}">
                      <a16:colId xmlns="" xmlns:a16="http://schemas.microsoft.com/office/drawing/2014/main" val="2041586817"/>
                    </a:ext>
                  </a:extLst>
                </a:gridCol>
              </a:tblGrid>
              <a:tr h="762000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мпы роста населения в 2010-2016 гг.</a:t>
                      </a:r>
                      <a:endParaRPr lang="ru-RU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ысокие (15,6%</a:t>
                      </a: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- до 1,4 млн. чел.) </a:t>
                      </a:r>
                      <a:endParaRPr lang="ru-RU" sz="11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ru-RU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492224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мпы роста объемов жилищного строительства </a:t>
                      </a:r>
                    </a:p>
                    <a:p>
                      <a:pPr algn="ctr"/>
                      <a:r>
                        <a:rPr lang="ru-RU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0 и</a:t>
                      </a:r>
                      <a:r>
                        <a:rPr lang="ru-RU" sz="11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 гг.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ысокие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2 %</a:t>
                      </a:r>
                      <a:endParaRPr lang="ru-RU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492224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ступность</a:t>
                      </a: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риобретения жилья</a:t>
                      </a:r>
                      <a:endParaRPr lang="ru-RU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ысокая (1,8 года)</a:t>
                      </a:r>
                      <a:endParaRPr lang="ru-RU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480392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ровень городского расползания</a:t>
                      </a:r>
                      <a:endParaRPr lang="ru-RU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ысокий (15 место из 17)</a:t>
                      </a:r>
                      <a:endParaRPr lang="ru-RU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2982761685"/>
                  </a:ext>
                </a:extLst>
              </a:tr>
              <a:tr h="594360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ровень</a:t>
                      </a: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гласованности градостроительной политики между МО</a:t>
                      </a:r>
                      <a:endParaRPr lang="ru-RU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4 место из 17)</a:t>
                      </a:r>
                      <a:endParaRPr lang="ru-RU" sz="11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ru-RU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60274145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5129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0"/>
            <a:ext cx="9144000" cy="1556792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34888"/>
            <a:ext cx="8229600" cy="1143000"/>
          </a:xfrm>
        </p:spPr>
        <p:txBody>
          <a:bodyPr>
            <a:noAutofit/>
          </a:bodyPr>
          <a:lstStyle/>
          <a:p>
            <a:r>
              <a:rPr lang="ru-RU" sz="2800" b="1" kern="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илищные условия в российских агломерациях</a:t>
            </a:r>
            <a:endParaRPr lang="ru-RU" sz="2800" b="1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51520" y="1556792"/>
            <a:ext cx="8229600" cy="5112568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endParaRPr lang="ru-RU" sz="24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endParaRPr lang="ru-RU" sz="24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endParaRPr lang="ru-RU" sz="2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FF39AB-B043-4145-9443-2A657DCFEAC8}" type="slidenum">
              <a:rPr lang="ru-RU" smtClean="0">
                <a:solidFill>
                  <a:prstClr val="white"/>
                </a:solidFill>
              </a:rPr>
              <a:pPr/>
              <a:t>23</a:t>
            </a:fld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8225" y="6375357"/>
            <a:ext cx="485775" cy="47625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508104" y="1578207"/>
            <a:ext cx="228602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рост  показателя в 2010-2016 г., кв. м на душу населения</a:t>
            </a:r>
            <a:endParaRPr lang="ru-RU" sz="14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164288" y="2492896"/>
            <a:ext cx="1907704" cy="1293971"/>
          </a:xfrm>
          <a:prstGeom prst="roundRect">
            <a:avLst/>
          </a:prstGeom>
          <a:solidFill>
            <a:srgbClr val="00B0F0"/>
          </a:solidFill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лько в 8 из 17 агломераций обеспеченность жильем выше средней по стране</a:t>
            </a:r>
            <a:endParaRPr lang="ru-RU" sz="14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186356" y="3997650"/>
            <a:ext cx="1907704" cy="1991499"/>
          </a:xfrm>
          <a:prstGeom prst="roundRect">
            <a:avLst/>
          </a:prstGeom>
          <a:solidFill>
            <a:srgbClr val="00B0F0"/>
          </a:solidFill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ность жильем увеличилась за 7 лет на 1,3-4,6 кв. м за исключением Московской агломерации (-0,3 кв. м)</a:t>
            </a:r>
            <a:endParaRPr lang="ru-RU" sz="14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4" name="Таблица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470087"/>
              </p:ext>
            </p:extLst>
          </p:nvPr>
        </p:nvGraphicFramePr>
        <p:xfrm>
          <a:off x="6200831" y="2286729"/>
          <a:ext cx="432048" cy="40886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32048"/>
              </a:tblGrid>
              <a:tr h="227146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1,9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27146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3,3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27146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2,4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27146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2,8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27146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2,5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27146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3,9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27146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2,8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27146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3,5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27146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3,5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27146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3,2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27146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3,2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27146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4,6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27146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3,2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27146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1,3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27146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2,4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27146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0,3</a:t>
                      </a:r>
                      <a:endParaRPr lang="ru-RU" sz="1400" b="1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27146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1,7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27146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2,1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5" name="Диаграмма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76614105"/>
              </p:ext>
            </p:extLst>
          </p:nvPr>
        </p:nvGraphicFramePr>
        <p:xfrm>
          <a:off x="323528" y="1611736"/>
          <a:ext cx="4752975" cy="51296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49349620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0"/>
            <a:ext cx="9144000" cy="1556792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34888"/>
            <a:ext cx="8229600" cy="1143000"/>
          </a:xfrm>
        </p:spPr>
        <p:txBody>
          <a:bodyPr>
            <a:noAutofit/>
          </a:bodyPr>
          <a:lstStyle/>
          <a:p>
            <a:r>
              <a:rPr lang="ru-RU" sz="2800" b="1" kern="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илищные условия в зарубежных агломерациях</a:t>
            </a:r>
            <a:endParaRPr lang="ru-RU" sz="2800" b="1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51520" y="1556792"/>
            <a:ext cx="8229600" cy="5112568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endParaRPr lang="ru-RU" sz="24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endParaRPr lang="ru-RU" sz="24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endParaRPr lang="ru-RU" sz="2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FF39AB-B043-4145-9443-2A657DCFEAC8}" type="slidenum">
              <a:rPr lang="ru-RU" smtClean="0">
                <a:solidFill>
                  <a:prstClr val="white"/>
                </a:solidFill>
              </a:rPr>
              <a:pPr/>
              <a:t>24</a:t>
            </a:fld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8225" y="6375357"/>
            <a:ext cx="485775" cy="476250"/>
          </a:xfrm>
          <a:prstGeom prst="rect">
            <a:avLst/>
          </a:prstGeom>
        </p:spPr>
      </p:pic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8426423"/>
              </p:ext>
            </p:extLst>
          </p:nvPr>
        </p:nvGraphicFramePr>
        <p:xfrm>
          <a:off x="457200" y="1700808"/>
          <a:ext cx="4546848" cy="319909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97701"/>
                <a:gridCol w="3149147"/>
              </a:tblGrid>
              <a:tr h="46149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родская агломерация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илищная обеспеченность, кв. м на душу населения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</a:tr>
              <a:tr h="38691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ью-Йорк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,6</a:t>
                      </a:r>
                      <a:endParaRPr lang="ru-RU" sz="1400" b="1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</a:tr>
              <a:tr h="38691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ондон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,8</a:t>
                      </a:r>
                      <a:endParaRPr lang="ru-RU" sz="1400" b="1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</a:tr>
              <a:tr h="38691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ингапур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,8</a:t>
                      </a:r>
                      <a:endParaRPr lang="ru-RU" sz="1400" b="1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</a:tr>
              <a:tr h="38691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знань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,4</a:t>
                      </a:r>
                      <a:endParaRPr lang="ru-RU" sz="1400" b="1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</a:tr>
              <a:tr h="38691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юрнберг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1,9</a:t>
                      </a:r>
                      <a:endParaRPr lang="ru-RU" sz="1400" b="1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</a:tr>
              <a:tr h="38691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лматы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</a:t>
                      </a:r>
                      <a:endParaRPr lang="ru-RU" sz="1400" b="1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</a:tr>
              <a:tr h="38691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анхай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</a:t>
                      </a:r>
                      <a:endParaRPr lang="ru-RU" sz="1400" b="1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sp>
        <p:nvSpPr>
          <p:cNvPr id="10" name="Прямоугольник 9"/>
          <p:cNvSpPr/>
          <p:nvPr/>
        </p:nvSpPr>
        <p:spPr>
          <a:xfrm>
            <a:off x="107504" y="4865168"/>
            <a:ext cx="8550721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точники: </a:t>
            </a:r>
            <a:r>
              <a:rPr lang="ru-RU" sz="105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ью-Йорк, 2016</a:t>
            </a:r>
            <a:r>
              <a:rPr lang="ru-RU" sz="105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http://www.rclco.com/advisory-apt-unit-size (рассчитано через данные о среднем размере жилой единицы, количестве жилых единиц в жилищном фонде и численности населения); </a:t>
            </a:r>
          </a:p>
          <a:p>
            <a:r>
              <a:rPr lang="ru-RU" sz="105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ондон, 2016</a:t>
            </a:r>
            <a:r>
              <a:rPr lang="ru-RU" sz="105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https://data.london.gov.uk/dataset/housing-london/resource/27e10d40-bb04-4028-95a6-606bd13d7777; </a:t>
            </a:r>
            <a:endParaRPr lang="ru-RU" sz="1050" dirty="0" smtClean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05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нгапур</a:t>
            </a:r>
            <a:r>
              <a:rPr lang="ru-RU" sz="105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2015</a:t>
            </a:r>
            <a:r>
              <a:rPr lang="ru-RU" sz="105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http://www.teoalida.com/singapore/hdbstatistics/; </a:t>
            </a:r>
            <a:endParaRPr lang="ru-RU" sz="1050" dirty="0" smtClean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05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знань</a:t>
            </a:r>
            <a:r>
              <a:rPr lang="ru-RU" sz="105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2015</a:t>
            </a:r>
            <a:r>
              <a:rPr lang="ru-RU" sz="105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http://poznan.stat.gov.pl/</a:t>
            </a:r>
            <a:r>
              <a:rPr lang="ru-RU" sz="105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es</a:t>
            </a:r>
            <a:r>
              <a:rPr lang="ru-RU" sz="105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ru-RU" sz="105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fx</a:t>
            </a:r>
            <a:r>
              <a:rPr lang="ru-RU" sz="105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ru-RU" sz="105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znan</a:t>
            </a:r>
            <a:r>
              <a:rPr lang="ru-RU" sz="105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ru-RU" sz="105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</a:t>
            </a:r>
            <a:r>
              <a:rPr lang="ru-RU" sz="105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ru-RU" sz="105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aultstronaopisowa</a:t>
            </a:r>
            <a:r>
              <a:rPr lang="ru-RU" sz="105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390/1/1/poznan_2015_dzial8.pdf; </a:t>
            </a:r>
            <a:endParaRPr lang="ru-RU" sz="1050" dirty="0" smtClean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05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юрнберг</a:t>
            </a:r>
            <a:r>
              <a:rPr lang="ru-RU" sz="105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2015</a:t>
            </a:r>
            <a:r>
              <a:rPr lang="ru-RU" sz="105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https://www.regionalstatistik.de/genesis/online/data;jsessionid=589485074443AA986502B810E78FB3EA.reg3?operation=previous&amp;levelindex=3&amp;step=2&amp;titel=Table+structure&amp;levelid=1514473566263&amp;levelid=1514473444973; </a:t>
            </a:r>
            <a:endParaRPr lang="ru-RU" sz="1050" dirty="0" smtClean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05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маты</a:t>
            </a:r>
            <a:r>
              <a:rPr lang="ru-RU" sz="105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5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6</a:t>
            </a:r>
            <a:r>
              <a:rPr lang="ru-RU" sz="105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http</a:t>
            </a:r>
            <a:r>
              <a:rPr lang="ru-RU" sz="105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//stat.gov.kz/faces/almaty/reg_main/regDinamo?_afrLoop=3443911899833805#%40%3F_afrLoop%3D3443911899833805%26_adf.ctrl-state%3Dm6baqty7b_97 (в таблице раздел «Жилищный фонд»); </a:t>
            </a:r>
            <a:endParaRPr lang="ru-RU" sz="1050" dirty="0" smtClean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05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нхай</a:t>
            </a:r>
            <a:r>
              <a:rPr lang="ru-RU" sz="105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2015</a:t>
            </a:r>
            <a:r>
              <a:rPr lang="ru-RU" sz="105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https://gbtimes.com/capita-living-space-24-square-meters-shanghai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359173" y="1844824"/>
            <a:ext cx="3384376" cy="2724150"/>
          </a:xfrm>
          <a:prstGeom prst="roundRect">
            <a:avLst/>
          </a:prstGeom>
          <a:solidFill>
            <a:srgbClr val="00B0F0"/>
          </a:solidFill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илищная обеспеченность в российских и зарубежных агломерациях различается незначительно</a:t>
            </a:r>
          </a:p>
          <a:p>
            <a:endParaRPr lang="ru-RU" sz="1400" dirty="0" smtClean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4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ые отличия приходятся на территории вне крупнейших агломераций – в развитых зарубежных странах жилищная обеспеченность вне агломераций гораздо выше, чем в России </a:t>
            </a:r>
            <a:endParaRPr lang="ru-RU" sz="14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184149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0"/>
            <a:ext cx="9144000" cy="1556792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34888"/>
            <a:ext cx="8229600" cy="1143000"/>
          </a:xfrm>
        </p:spPr>
        <p:txBody>
          <a:bodyPr>
            <a:noAutofit/>
          </a:bodyPr>
          <a:lstStyle/>
          <a:p>
            <a:r>
              <a:rPr lang="ru-RU" sz="2400" b="1" kern="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ложение на первичном рынке жилья в российских агломерациях</a:t>
            </a:r>
            <a:endParaRPr lang="ru-RU" sz="2400" b="1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51520" y="1556792"/>
            <a:ext cx="8229600" cy="5112568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endParaRPr lang="ru-RU" sz="24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endParaRPr lang="ru-RU" sz="24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endParaRPr lang="ru-RU" sz="2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FF39AB-B043-4145-9443-2A657DCFEAC8}" type="slidenum">
              <a:rPr lang="ru-RU" smtClean="0">
                <a:solidFill>
                  <a:prstClr val="white"/>
                </a:solidFill>
              </a:rPr>
              <a:pPr/>
              <a:t>25</a:t>
            </a:fld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8225" y="6375357"/>
            <a:ext cx="485775" cy="476250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5148064" y="1592042"/>
            <a:ext cx="22860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рост  показателя в 2010-2016 г.</a:t>
            </a:r>
            <a:endParaRPr lang="ru-RU" sz="14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4375087"/>
              </p:ext>
            </p:extLst>
          </p:nvPr>
        </p:nvGraphicFramePr>
        <p:xfrm>
          <a:off x="5868144" y="2060841"/>
          <a:ext cx="609600" cy="437504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09600"/>
              </a:tblGrid>
              <a:tr h="25379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%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5379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%</a:t>
                      </a:r>
                      <a:endParaRPr lang="ru-RU" sz="14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53795"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1" u="none" strike="noStrike" dirty="0">
                          <a:solidFill>
                            <a:srgbClr val="FFFF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2%</a:t>
                      </a:r>
                      <a:endParaRPr lang="ru-RU" sz="2000" b="1" i="0" u="none" strike="noStrike" dirty="0">
                        <a:solidFill>
                          <a:srgbClr val="FFFF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5379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1%</a:t>
                      </a:r>
                      <a:endParaRPr lang="ru-RU" sz="14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5379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%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5379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9%</a:t>
                      </a:r>
                      <a:endParaRPr lang="ru-RU" sz="14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5379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%</a:t>
                      </a:r>
                      <a:endParaRPr lang="ru-RU" sz="14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5379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3%</a:t>
                      </a:r>
                      <a:endParaRPr lang="ru-RU" sz="14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5379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%</a:t>
                      </a:r>
                      <a:endParaRPr lang="ru-RU" sz="14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5379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%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5379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%</a:t>
                      </a:r>
                      <a:endParaRPr lang="ru-RU" sz="14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5379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%</a:t>
                      </a:r>
                      <a:endParaRPr lang="ru-RU" sz="14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5379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%</a:t>
                      </a:r>
                      <a:endParaRPr lang="ru-RU" sz="14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5379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%</a:t>
                      </a:r>
                      <a:endParaRPr lang="ru-RU" sz="14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5379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2%</a:t>
                      </a:r>
                      <a:endParaRPr lang="ru-RU" sz="14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5379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2%</a:t>
                      </a:r>
                      <a:endParaRPr lang="ru-RU" sz="14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5379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3%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7140503" y="2115262"/>
            <a:ext cx="1907704" cy="1532334"/>
          </a:xfrm>
          <a:prstGeom prst="roundRect">
            <a:avLst/>
          </a:prstGeom>
          <a:solidFill>
            <a:srgbClr val="00B0F0"/>
          </a:solidFill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вод жилья в 17 агломерациях составляет 33,5 млн кв. м, или 42% ввода жилья в стране</a:t>
            </a:r>
            <a:endParaRPr lang="ru-RU" sz="14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140503" y="3997650"/>
            <a:ext cx="1907704" cy="1991499"/>
          </a:xfrm>
          <a:prstGeom prst="roundRect">
            <a:avLst/>
          </a:prstGeom>
          <a:solidFill>
            <a:srgbClr val="00B0F0"/>
          </a:solidFill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рост ввода жилья за 7 лет составил от 14% до 92%, за исключением Владивостокской  агломерации </a:t>
            </a:r>
          </a:p>
          <a:p>
            <a:r>
              <a:rPr lang="ru-RU" sz="14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-3 %)</a:t>
            </a:r>
            <a:endParaRPr lang="ru-RU" sz="14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3" name="Диаграмма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75627805"/>
              </p:ext>
            </p:extLst>
          </p:nvPr>
        </p:nvGraphicFramePr>
        <p:xfrm>
          <a:off x="467544" y="1556792"/>
          <a:ext cx="5112568" cy="51845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08628188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0"/>
            <a:ext cx="9144000" cy="1556792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34888"/>
            <a:ext cx="8229600" cy="1143000"/>
          </a:xfrm>
        </p:spPr>
        <p:txBody>
          <a:bodyPr>
            <a:noAutofit/>
          </a:bodyPr>
          <a:lstStyle/>
          <a:p>
            <a:r>
              <a:rPr lang="ru-RU" sz="24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</a:t>
            </a:r>
            <a:r>
              <a:rPr lang="ru-RU" sz="2400" b="1" kern="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дложение на первичном рынке жилья в зарубежных </a:t>
            </a:r>
            <a:r>
              <a:rPr lang="ru-RU" sz="2400" b="1" kern="0" dirty="0" err="1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ломерциях</a:t>
            </a:r>
            <a:endParaRPr lang="ru-RU" sz="2400" b="1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51520" y="1556792"/>
            <a:ext cx="8229600" cy="5112568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endParaRPr lang="ru-RU" sz="24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endParaRPr lang="ru-RU" sz="24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endParaRPr lang="ru-RU" sz="2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FF39AB-B043-4145-9443-2A657DCFEAC8}" type="slidenum">
              <a:rPr lang="ru-RU" smtClean="0">
                <a:solidFill>
                  <a:prstClr val="white"/>
                </a:solidFill>
              </a:rPr>
              <a:pPr/>
              <a:t>26</a:t>
            </a:fld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8225" y="6375357"/>
            <a:ext cx="485775" cy="476250"/>
          </a:xfrm>
          <a:prstGeom prst="rect">
            <a:avLst/>
          </a:prstGeom>
        </p:spPr>
      </p:pic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8599532"/>
              </p:ext>
            </p:extLst>
          </p:nvPr>
        </p:nvGraphicFramePr>
        <p:xfrm>
          <a:off x="561207" y="2996952"/>
          <a:ext cx="3180549" cy="196365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67428"/>
                <a:gridCol w="1813121"/>
              </a:tblGrid>
              <a:tr h="35283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родская агломерация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7527" marR="575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вод жилых единиц </a:t>
                      </a:r>
                      <a:b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 1000 человек населения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7527" marR="57527" marT="0" marB="0" anchor="ctr"/>
                </a:tc>
              </a:tr>
              <a:tr h="22211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ью-Йорк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7527" marR="575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25</a:t>
                      </a:r>
                      <a:endParaRPr lang="ru-RU" sz="11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7527" marR="57527" marT="0" marB="0" anchor="ctr"/>
                </a:tc>
              </a:tr>
              <a:tr h="22211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ондон</a:t>
                      </a:r>
                      <a:endParaRPr lang="ru-RU" sz="11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7527" marR="575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25</a:t>
                      </a:r>
                      <a:endParaRPr lang="ru-RU" sz="11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7527" marR="57527" marT="0" marB="0" anchor="ctr"/>
                </a:tc>
              </a:tr>
              <a:tr h="22211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ингапур</a:t>
                      </a:r>
                      <a:endParaRPr lang="ru-RU" sz="11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7527" marR="575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86</a:t>
                      </a:r>
                      <a:endParaRPr lang="ru-RU" sz="11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7527" marR="57527" marT="0" marB="0" anchor="ctr"/>
                </a:tc>
              </a:tr>
              <a:tr h="22211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убай</a:t>
                      </a:r>
                      <a:endParaRPr lang="ru-RU" sz="11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7527" marR="575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37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7527" marR="57527" marT="0" marB="0" anchor="ctr"/>
                </a:tc>
              </a:tr>
              <a:tr h="22211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знань</a:t>
                      </a:r>
                      <a:endParaRPr lang="ru-RU" sz="11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7527" marR="575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08</a:t>
                      </a:r>
                      <a:endParaRPr lang="ru-RU" sz="11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7527" marR="57527" marT="0" marB="0" anchor="ctr"/>
                </a:tc>
              </a:tr>
              <a:tr h="22211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юрнберг</a:t>
                      </a:r>
                      <a:endParaRPr lang="ru-RU" sz="11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7527" marR="575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42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7527" marR="57527" marT="0" marB="0" anchor="ctr"/>
                </a:tc>
              </a:tr>
            </a:tbl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783330" y="5111606"/>
            <a:ext cx="2736304" cy="52322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сия в среднем – </a:t>
            </a:r>
            <a:r>
              <a:rPr lang="en-US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en-US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r>
              <a:rPr 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жилых единиц на 1000 человек</a:t>
            </a:r>
            <a:endParaRPr lang="ru-RU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51044" y="1577418"/>
            <a:ext cx="3400876" cy="1328023"/>
          </a:xfrm>
          <a:prstGeom prst="roundRect">
            <a:avLst/>
          </a:prstGeom>
          <a:solidFill>
            <a:srgbClr val="00B0F0"/>
          </a:solidFill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сийские агломерации кратно опережают зарубежные по вводу жилых единиц на душу населения</a:t>
            </a:r>
            <a:endParaRPr lang="ru-RU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1" name="Таблица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3719463"/>
              </p:ext>
            </p:extLst>
          </p:nvPr>
        </p:nvGraphicFramePr>
        <p:xfrm>
          <a:off x="4033506" y="1556793"/>
          <a:ext cx="4624719" cy="4682783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2927879"/>
                <a:gridCol w="1696840"/>
              </a:tblGrid>
              <a:tr h="54035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родская агломерация</a:t>
                      </a:r>
                      <a:endParaRPr lang="ru-RU" sz="1100" b="1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7527" marR="575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вод жилых единиц </a:t>
                      </a:r>
                      <a:br>
                        <a:rPr lang="ru-RU" sz="11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1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 1000 человек населения</a:t>
                      </a:r>
                      <a:endParaRPr lang="ru-RU" sz="1100" b="1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7527" marR="57527" marT="0" marB="0" anchor="ctr"/>
                </a:tc>
              </a:tr>
              <a:tr h="17471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осковская агломерация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90" marR="3190" marT="31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,33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90" marR="3190" marT="3190" marB="0" anchor="b"/>
                </a:tc>
              </a:tr>
              <a:tr h="29119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нкт-Петербургская агломерация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90" marR="3190" marT="31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,4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90" marR="3190" marT="3190" marB="0" anchor="b"/>
                </a:tc>
              </a:tr>
              <a:tr h="29119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марско</a:t>
                      </a:r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Тольяттинская агломерация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90" marR="3190" marT="31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,46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90" marR="3190" marT="3190" marB="0" anchor="b"/>
                </a:tc>
              </a:tr>
              <a:tr h="232957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овосибирская агломерация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90" marR="3190" marT="31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,3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90" marR="3190" marT="3190" marB="0" anchor="b"/>
                </a:tc>
              </a:tr>
              <a:tr h="232957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катеринбургская агломерация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90" marR="3190" marT="31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,48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90" marR="3190" marT="3190" marB="0" anchor="b"/>
                </a:tc>
              </a:tr>
              <a:tr h="232957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ижегородская агломерация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90" marR="3190" marT="31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1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90" marR="3190" marT="3190" marB="0" anchor="b"/>
                </a:tc>
              </a:tr>
              <a:tr h="17471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стовская агломерация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90" marR="3190" marT="31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,15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90" marR="3190" marT="3190" marB="0" anchor="b"/>
                </a:tc>
              </a:tr>
              <a:tr h="17471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занская агломерация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90" marR="3190" marT="31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,89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90" marR="3190" marT="3190" marB="0" anchor="b"/>
                </a:tc>
              </a:tr>
              <a:tr h="232957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елябинская агломерация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90" marR="3190" marT="31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,5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90" marR="3190" marT="3190" marB="0" anchor="b"/>
                </a:tc>
              </a:tr>
              <a:tr h="232957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оронежская агломерация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90" marR="3190" marT="31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,24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90" marR="3190" marT="3190" marB="0" anchor="b"/>
                </a:tc>
              </a:tr>
              <a:tr h="17471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фимская агломерация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90" marR="3190" marT="31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,43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90" marR="3190" marT="3190" marB="0" anchor="b"/>
                </a:tc>
              </a:tr>
              <a:tr h="232957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олгоградская агломерация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90" marR="3190" marT="31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05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90" marR="3190" marT="3190" marB="0" anchor="b"/>
                </a:tc>
              </a:tr>
              <a:tr h="51556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раснодарская агломерация</a:t>
                      </a:r>
                      <a:endParaRPr lang="ru-RU" sz="1800" b="1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90" marR="3190" marT="31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,00</a:t>
                      </a:r>
                      <a:endParaRPr lang="ru-RU" sz="1800" b="1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90" marR="3190" marT="3190" marB="0" anchor="b"/>
                </a:tc>
              </a:tr>
              <a:tr h="232957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расноярская агломерация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90" marR="3190" marT="31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,9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90" marR="3190" marT="3190" marB="0" anchor="b"/>
                </a:tc>
              </a:tr>
              <a:tr h="17471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мская агломерация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90" marR="3190" marT="31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,48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90" marR="3190" marT="3190" marB="0" anchor="b"/>
                </a:tc>
              </a:tr>
              <a:tr h="232957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ратовская агломерация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90" marR="3190" marT="31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,59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90" marR="3190" marT="3190" marB="0" anchor="b"/>
                </a:tc>
              </a:tr>
              <a:tr h="232957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ладивостокская агломерация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90" marR="3190" marT="31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86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90" marR="3190" marT="3190" marB="0" anchor="b"/>
                </a:tc>
              </a:tr>
            </a:tbl>
          </a:graphicData>
        </a:graphic>
      </p:graphicFrame>
      <p:sp>
        <p:nvSpPr>
          <p:cNvPr id="22" name="Прямоугольник 21"/>
          <p:cNvSpPr/>
          <p:nvPr/>
        </p:nvSpPr>
        <p:spPr>
          <a:xfrm>
            <a:off x="68254" y="6032628"/>
            <a:ext cx="861571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точники: </a:t>
            </a:r>
            <a:r>
              <a:rPr lang="ru-RU" sz="8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ью-Йорк </a:t>
            </a:r>
            <a:r>
              <a:rPr lang="ru-RU" sz="800" u="sng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ttps://www.census.gov/construction/nrc</a:t>
            </a:r>
            <a:r>
              <a:rPr lang="ru-RU" sz="8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br>
              <a:rPr lang="ru-RU" sz="8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8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ондон </a:t>
            </a:r>
            <a:r>
              <a:rPr lang="ru-RU" sz="800" u="sng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ttps://data.london.gov.uk/dataset/housing-london/resource/27e10d40-bb04-4028-95a6-606bd13d7777</a:t>
            </a:r>
            <a:r>
              <a:rPr lang="ru-RU" sz="8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r>
              <a:rPr lang="ru-RU" sz="8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нгапур </a:t>
            </a:r>
            <a:r>
              <a:rPr lang="ru-RU" sz="800" u="sng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ttps://www.singstat.gov.sg/docs/default-source/default-document-library/publications/publications_and_papers/reference/sif2017.pdf</a:t>
            </a:r>
            <a:r>
              <a:rPr lang="ru-RU" sz="8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r>
              <a:rPr lang="ru-RU" sz="8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убай </a:t>
            </a:r>
            <a:r>
              <a:rPr lang="ru-RU" sz="800" u="sng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ttps://www.dsc.gov.ae/Report/Copy%20of%20DSC_SYB_2016_02%20_%2002.pdf</a:t>
            </a:r>
            <a:r>
              <a:rPr lang="ru-RU" sz="8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r>
              <a:rPr lang="ru-RU" sz="8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знань </a:t>
            </a:r>
            <a:r>
              <a:rPr lang="ru-RU" sz="800" u="sng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ttp://poznan.stat.gov.pl/en/current-studies/communiqus-and-announcements/bulletins/statistical-bulletin-poznan-iv-quarter-2016,2,23.html</a:t>
            </a:r>
            <a:r>
              <a:rPr lang="ru-RU" sz="8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r>
              <a:rPr lang="ru-RU" sz="8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юрнберг </a:t>
            </a:r>
            <a:r>
              <a:rPr lang="ru-RU" sz="800" u="sng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ttps://www.regionalstatistik.de</a:t>
            </a:r>
            <a:r>
              <a:rPr lang="ru-RU" sz="8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14440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0"/>
            <a:ext cx="9144000" cy="1556792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34888"/>
            <a:ext cx="8229600" cy="1143000"/>
          </a:xfrm>
        </p:spPr>
        <p:txBody>
          <a:bodyPr>
            <a:noAutofit/>
          </a:bodyPr>
          <a:lstStyle/>
          <a:p>
            <a:r>
              <a:rPr lang="ru-RU" sz="2400" b="1" kern="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ивность жилищного строительства в российских </a:t>
            </a:r>
            <a:r>
              <a:rPr lang="ru-RU" sz="2400" b="1" kern="0" dirty="0" err="1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лморациях</a:t>
            </a:r>
            <a:endParaRPr lang="ru-RU" sz="2400" b="1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51520" y="1556792"/>
            <a:ext cx="8229600" cy="5112568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endParaRPr lang="ru-RU" sz="24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endParaRPr lang="ru-RU" sz="24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endParaRPr lang="ru-RU" sz="2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FF39AB-B043-4145-9443-2A657DCFEAC8}" type="slidenum">
              <a:rPr lang="ru-RU" smtClean="0">
                <a:solidFill>
                  <a:prstClr val="white"/>
                </a:solidFill>
              </a:rPr>
              <a:pPr/>
              <a:t>27</a:t>
            </a:fld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8225" y="6375357"/>
            <a:ext cx="485775" cy="476250"/>
          </a:xfrm>
          <a:prstGeom prst="rect">
            <a:avLst/>
          </a:prstGeom>
        </p:spPr>
      </p:pic>
      <p:graphicFrame>
        <p:nvGraphicFramePr>
          <p:cNvPr id="10" name="Диаграмма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80570172"/>
              </p:ext>
            </p:extLst>
          </p:nvPr>
        </p:nvGraphicFramePr>
        <p:xfrm>
          <a:off x="171819" y="1556792"/>
          <a:ext cx="8953501" cy="5029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71776790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Диаграмма 2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29494364"/>
              </p:ext>
            </p:extLst>
          </p:nvPr>
        </p:nvGraphicFramePr>
        <p:xfrm>
          <a:off x="395536" y="1838986"/>
          <a:ext cx="8424936" cy="45363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0" y="0"/>
            <a:ext cx="9144000" cy="1556792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34888"/>
            <a:ext cx="8229600" cy="1143000"/>
          </a:xfrm>
        </p:spPr>
        <p:txBody>
          <a:bodyPr>
            <a:noAutofit/>
          </a:bodyPr>
          <a:lstStyle/>
          <a:p>
            <a:r>
              <a:rPr lang="ru-RU" sz="2400" kern="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400" kern="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400" b="1" kern="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дели градостроительного освоения территорий в российских агломерациях</a:t>
            </a:r>
            <a:endParaRPr lang="ru-RU" sz="2400" b="1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74538" y="1487357"/>
            <a:ext cx="8229600" cy="5112568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endParaRPr lang="ru-RU" sz="24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endParaRPr lang="ru-RU" sz="24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endParaRPr lang="ru-RU" sz="2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FF39AB-B043-4145-9443-2A657DCFEAC8}" type="slidenum">
              <a:rPr lang="ru-RU" smtClean="0">
                <a:solidFill>
                  <a:prstClr val="white"/>
                </a:solidFill>
              </a:rPr>
              <a:pPr/>
              <a:t>28</a:t>
            </a:fld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8225" y="6375357"/>
            <a:ext cx="485775" cy="476250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139932" y="6557918"/>
            <a:ext cx="810447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обходимые данные по муниципальным образованиям Московской агломерации отсутствуют</a:t>
            </a:r>
            <a:endParaRPr lang="ru-RU" sz="11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Левая фигурная скобка 10"/>
          <p:cNvSpPr/>
          <p:nvPr/>
        </p:nvSpPr>
        <p:spPr>
          <a:xfrm rot="5400000">
            <a:off x="2921311" y="94012"/>
            <a:ext cx="390313" cy="4351224"/>
          </a:xfrm>
          <a:prstGeom prst="leftBrace">
            <a:avLst/>
          </a:prstGeom>
          <a:ln w="38100">
            <a:solidFill>
              <a:srgbClr val="00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FFFF"/>
              </a:solidFill>
            </a:endParaRPr>
          </a:p>
        </p:txBody>
      </p:sp>
      <p:sp>
        <p:nvSpPr>
          <p:cNvPr id="12" name="Левая фигурная скобка 11"/>
          <p:cNvSpPr/>
          <p:nvPr/>
        </p:nvSpPr>
        <p:spPr>
          <a:xfrm rot="5400000">
            <a:off x="7075989" y="936800"/>
            <a:ext cx="446396" cy="2718073"/>
          </a:xfrm>
          <a:prstGeom prst="leftBrace">
            <a:avLst/>
          </a:prstGeom>
          <a:ln w="38100">
            <a:solidFill>
              <a:srgbClr val="00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971600" y="1608154"/>
            <a:ext cx="38164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нтрализация градостроительного освоения территорий</a:t>
            </a:r>
            <a:endParaRPr lang="ru-RU" sz="12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570997" y="1650565"/>
            <a:ext cx="38164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централизация градостроительного освоения территорий</a:t>
            </a:r>
            <a:endParaRPr lang="ru-RU" sz="12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Стрелка вниз 15"/>
          <p:cNvSpPr/>
          <p:nvPr/>
        </p:nvSpPr>
        <p:spPr>
          <a:xfrm>
            <a:off x="5436096" y="2943989"/>
            <a:ext cx="288032" cy="763849"/>
          </a:xfrm>
          <a:prstGeom prst="downArrow">
            <a:avLst/>
          </a:prstGeom>
          <a:solidFill>
            <a:srgbClr val="00FFFF"/>
          </a:solidFill>
          <a:ln>
            <a:solidFill>
              <a:srgbClr val="00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067944" y="2432685"/>
            <a:ext cx="30243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вномерное градостроительное освоение территорий</a:t>
            </a:r>
            <a:endParaRPr lang="ru-RU" sz="12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165469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/>
          <p:cNvSpPr txBox="1"/>
          <p:nvPr/>
        </p:nvSpPr>
        <p:spPr>
          <a:xfrm>
            <a:off x="6911752" y="1547738"/>
            <a:ext cx="223224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5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меренно активные сферы жилищного строительства с низкой эластичностью предложения </a:t>
            </a:r>
            <a:r>
              <a:rPr lang="en-US" sz="105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05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нее 1 кв. м на 1 млн реальных доходов</a:t>
            </a:r>
            <a:r>
              <a:rPr lang="en-US" sz="105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sz="105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5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0" y="0"/>
            <a:ext cx="9144000" cy="1556792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34888"/>
            <a:ext cx="8229600" cy="1143000"/>
          </a:xfrm>
        </p:spPr>
        <p:txBody>
          <a:bodyPr>
            <a:noAutofit/>
          </a:bodyPr>
          <a:lstStyle/>
          <a:p>
            <a:r>
              <a:rPr lang="ru-RU" sz="2400" b="1" kern="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ластичность предложения нового жилья</a:t>
            </a:r>
            <a:endParaRPr lang="ru-RU" sz="2400" b="1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51520" y="1556792"/>
            <a:ext cx="8229600" cy="5112568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endParaRPr lang="ru-RU" sz="24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endParaRPr lang="ru-RU" sz="24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endParaRPr lang="ru-RU" sz="2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FF39AB-B043-4145-9443-2A657DCFEAC8}" type="slidenum">
              <a:rPr lang="ru-RU" smtClean="0">
                <a:solidFill>
                  <a:prstClr val="white"/>
                </a:solidFill>
              </a:rPr>
              <a:pPr/>
              <a:t>29</a:t>
            </a:fld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8225" y="6375357"/>
            <a:ext cx="485775" cy="476250"/>
          </a:xfrm>
          <a:prstGeom prst="rect">
            <a:avLst/>
          </a:prstGeom>
        </p:spPr>
      </p:pic>
      <p:sp>
        <p:nvSpPr>
          <p:cNvPr id="14" name="Левая фигурная скобка 13"/>
          <p:cNvSpPr/>
          <p:nvPr/>
        </p:nvSpPr>
        <p:spPr>
          <a:xfrm rot="5400000">
            <a:off x="2006909" y="1177017"/>
            <a:ext cx="370108" cy="2880321"/>
          </a:xfrm>
          <a:prstGeom prst="leftBrace">
            <a:avLst/>
          </a:prstGeom>
          <a:ln w="38100">
            <a:solidFill>
              <a:srgbClr val="00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07503" y="1575164"/>
            <a:ext cx="3384376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ивные сферы жилищного строительства с высокой эластичностью предложения </a:t>
            </a:r>
            <a:r>
              <a:rPr lang="en-US" sz="11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1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ее </a:t>
            </a:r>
            <a:r>
              <a:rPr lang="en-US" sz="11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</a:t>
            </a:r>
            <a:r>
              <a:rPr lang="ru-RU" sz="11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в. м на 1 млн реальных доходов</a:t>
            </a:r>
            <a:r>
              <a:rPr lang="en-US" sz="11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sz="11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Левая фигурная скобка 15"/>
          <p:cNvSpPr/>
          <p:nvPr/>
        </p:nvSpPr>
        <p:spPr>
          <a:xfrm rot="5400000">
            <a:off x="5165805" y="1059036"/>
            <a:ext cx="360051" cy="3131840"/>
          </a:xfrm>
          <a:prstGeom prst="leftBrace">
            <a:avLst/>
          </a:prstGeom>
          <a:ln w="38100">
            <a:solidFill>
              <a:srgbClr val="00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347864" y="1556792"/>
            <a:ext cx="3635896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меренно активные сферы жилищного строительства со средней эластичностью предложения </a:t>
            </a:r>
            <a:r>
              <a:rPr lang="en-US" sz="11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1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1 до </a:t>
            </a:r>
            <a:r>
              <a:rPr lang="en-US" sz="11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</a:t>
            </a:r>
            <a:r>
              <a:rPr lang="ru-RU" sz="11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в. м на 1 млн реальных доходов</a:t>
            </a:r>
            <a:r>
              <a:rPr lang="en-US" sz="11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sz="11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1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Левая фигурная скобка 18"/>
          <p:cNvSpPr/>
          <p:nvPr/>
        </p:nvSpPr>
        <p:spPr>
          <a:xfrm rot="5400000">
            <a:off x="7536642" y="2024701"/>
            <a:ext cx="333170" cy="1221892"/>
          </a:xfrm>
          <a:prstGeom prst="leftBrace">
            <a:avLst/>
          </a:prstGeom>
          <a:ln w="38100">
            <a:solidFill>
              <a:srgbClr val="00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00"/>
              </a:solidFill>
            </a:endParaRPr>
          </a:p>
        </p:txBody>
      </p:sp>
      <p:graphicFrame>
        <p:nvGraphicFramePr>
          <p:cNvPr id="21" name="Диаграмма 2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63602689"/>
              </p:ext>
            </p:extLst>
          </p:nvPr>
        </p:nvGraphicFramePr>
        <p:xfrm>
          <a:off x="138881" y="2839448"/>
          <a:ext cx="8753475" cy="40185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9384656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 smtClean="0"/>
              <a:t>Выборка 45 исследуемых городских </a:t>
            </a:r>
            <a:r>
              <a:rPr lang="ru-RU" dirty="0"/>
              <a:t>агломераций</a:t>
            </a:r>
            <a:br>
              <a:rPr lang="ru-RU" dirty="0"/>
            </a:br>
            <a:endParaRPr lang="ru-RU" dirty="0"/>
          </a:p>
        </p:txBody>
      </p:sp>
      <p:sp>
        <p:nvSpPr>
          <p:cNvPr id="6" name="Объект 2"/>
          <p:cNvSpPr>
            <a:spLocks noGrp="1"/>
          </p:cNvSpPr>
          <p:nvPr>
            <p:ph idx="1"/>
          </p:nvPr>
        </p:nvSpPr>
        <p:spPr>
          <a:xfrm>
            <a:off x="422031" y="1691122"/>
            <a:ext cx="7596554" cy="4525963"/>
          </a:xfrm>
        </p:spPr>
        <p:txBody>
          <a:bodyPr>
            <a:normAutofit/>
          </a:bodyPr>
          <a:lstStyle/>
          <a:p>
            <a:pPr lvl="0"/>
            <a:r>
              <a:rPr lang="ru-RU" dirty="0" smtClean="0"/>
              <a:t>Агломерации– </a:t>
            </a:r>
            <a:r>
              <a:rPr lang="ru-RU" dirty="0"/>
              <a:t>центры макрорегионов, опорные точки развития страны </a:t>
            </a:r>
            <a:r>
              <a:rPr lang="ru-RU" dirty="0" smtClean="0"/>
              <a:t>(</a:t>
            </a:r>
            <a:r>
              <a:rPr lang="ru-RU" b="1" dirty="0" smtClean="0"/>
              <a:t>6</a:t>
            </a:r>
            <a:r>
              <a:rPr lang="ru-RU" dirty="0" smtClean="0"/>
              <a:t> </a:t>
            </a:r>
            <a:r>
              <a:rPr lang="ru-RU" dirty="0"/>
              <a:t>агломераций</a:t>
            </a:r>
            <a:r>
              <a:rPr lang="ru-RU" dirty="0" smtClean="0"/>
              <a:t>) – группа А</a:t>
            </a:r>
            <a:endParaRPr lang="ru-RU" dirty="0"/>
          </a:p>
          <a:p>
            <a:pPr lvl="0"/>
            <a:r>
              <a:rPr lang="ru-RU" dirty="0" smtClean="0"/>
              <a:t>Агломерации </a:t>
            </a:r>
            <a:r>
              <a:rPr lang="ru-RU" dirty="0"/>
              <a:t>регионального значения, ядром которых являются города – центры субъектов Российской Федерации </a:t>
            </a:r>
            <a:r>
              <a:rPr lang="ru-RU" dirty="0" smtClean="0"/>
              <a:t>(</a:t>
            </a:r>
            <a:r>
              <a:rPr lang="ru-RU" b="1" dirty="0" smtClean="0"/>
              <a:t>29</a:t>
            </a:r>
            <a:r>
              <a:rPr lang="ru-RU" dirty="0" smtClean="0"/>
              <a:t> </a:t>
            </a:r>
            <a:r>
              <a:rPr lang="ru-RU" dirty="0"/>
              <a:t>агломераций</a:t>
            </a:r>
            <a:r>
              <a:rPr lang="ru-RU" dirty="0" smtClean="0"/>
              <a:t>) – группа В</a:t>
            </a:r>
            <a:endParaRPr lang="ru-RU" dirty="0"/>
          </a:p>
          <a:p>
            <a:pPr lvl="0"/>
            <a:r>
              <a:rPr lang="ru-RU" dirty="0" smtClean="0"/>
              <a:t>Агломерации </a:t>
            </a:r>
            <a:r>
              <a:rPr lang="ru-RU" dirty="0" err="1"/>
              <a:t>внутрирегионального</a:t>
            </a:r>
            <a:r>
              <a:rPr lang="ru-RU" dirty="0"/>
              <a:t> (локального) значения, ядром которых являются города, не </a:t>
            </a:r>
            <a:r>
              <a:rPr lang="ru-RU" dirty="0" smtClean="0"/>
              <a:t>являющиеся центрами </a:t>
            </a:r>
            <a:r>
              <a:rPr lang="ru-RU" dirty="0"/>
              <a:t>субъектов Российской Федерации </a:t>
            </a:r>
            <a:r>
              <a:rPr lang="ru-RU" dirty="0" smtClean="0"/>
              <a:t>(</a:t>
            </a:r>
            <a:r>
              <a:rPr lang="ru-RU" b="1" dirty="0" smtClean="0"/>
              <a:t>10</a:t>
            </a:r>
            <a:r>
              <a:rPr lang="ru-RU" dirty="0" smtClean="0"/>
              <a:t> </a:t>
            </a:r>
            <a:r>
              <a:rPr lang="ru-RU" dirty="0"/>
              <a:t>агломераций</a:t>
            </a:r>
            <a:r>
              <a:rPr lang="ru-RU" dirty="0" smtClean="0"/>
              <a:t>) – группа С</a:t>
            </a:r>
            <a:endParaRPr lang="ru-RU" dirty="0"/>
          </a:p>
          <a:p>
            <a:endParaRPr lang="ru-RU" dirty="0" smtClean="0"/>
          </a:p>
          <a:p>
            <a:r>
              <a:rPr lang="ru-RU" i="1" dirty="0" smtClean="0"/>
              <a:t>Численность населения агломераций – не ниже 300 тыс. чел.</a:t>
            </a:r>
            <a:endParaRPr lang="ru-RU" i="1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7704517" y="657922"/>
            <a:ext cx="1099243" cy="11283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216804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0"/>
            <a:ext cx="9144000" cy="1556792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34888"/>
            <a:ext cx="8229600" cy="1143000"/>
          </a:xfrm>
        </p:spPr>
        <p:txBody>
          <a:bodyPr>
            <a:noAutofit/>
          </a:bodyPr>
          <a:lstStyle/>
          <a:p>
            <a:r>
              <a:rPr lang="ru-RU" sz="2800" b="1" kern="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ступность жилья в российских агломерациях</a:t>
            </a:r>
            <a:endParaRPr lang="ru-RU" sz="2800" b="1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51520" y="1556792"/>
            <a:ext cx="8229600" cy="5112568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endParaRPr lang="ru-RU" sz="24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endParaRPr lang="ru-RU" sz="24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endParaRPr lang="ru-RU" sz="2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FF39AB-B043-4145-9443-2A657DCFEAC8}" type="slidenum">
              <a:rPr lang="ru-RU" smtClean="0">
                <a:solidFill>
                  <a:prstClr val="white"/>
                </a:solidFill>
              </a:rPr>
              <a:pPr/>
              <a:t>30</a:t>
            </a:fld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8225" y="6375357"/>
            <a:ext cx="485775" cy="476250"/>
          </a:xfrm>
          <a:prstGeom prst="rect">
            <a:avLst/>
          </a:prstGeom>
        </p:spPr>
      </p:pic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421519"/>
              </p:ext>
            </p:extLst>
          </p:nvPr>
        </p:nvGraphicFramePr>
        <p:xfrm>
          <a:off x="408512" y="1637900"/>
          <a:ext cx="8230943" cy="4676497"/>
        </p:xfrm>
        <a:graphic>
          <a:graphicData uri="http://schemas.openxmlformats.org/drawingml/2006/table">
            <a:tbl>
              <a:tblPr/>
              <a:tblGrid>
                <a:gridCol w="581007"/>
                <a:gridCol w="1638265"/>
                <a:gridCol w="661047"/>
                <a:gridCol w="936104"/>
                <a:gridCol w="1368152"/>
                <a:gridCol w="3046368"/>
              </a:tblGrid>
              <a:tr h="110954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родская </a:t>
                      </a:r>
                    </a:p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гломерация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эф-фициент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ступности жилья, лет, 2016 г.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рост показателя в 2010-2016 гг., лет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ровень доступности жилья в 2016 г.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нденция 2010-2016 гг.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348407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осковская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3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2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илье существенно недоступно 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начительное повышение доступности жилья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</a:tr>
              <a:tr h="46454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6B0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нкт-Петербургская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6B0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4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6B0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6B0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обретение жилья серьезно осложнено 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6B0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начительное повышение доступности жилья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</a:tr>
              <a:tr h="17867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овосибирская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6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8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 rowSpan="8"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илье не очень доступно 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начительное повышение доступности жилья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</a:tr>
              <a:tr h="17867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ладивостокская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4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3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мереннное повышение доступности жилья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DEE8"/>
                    </a:solidFill>
                  </a:tcPr>
                </a:tc>
              </a:tr>
              <a:tr h="17867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расноярская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2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мереннное повышение доступности жилья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DEE8"/>
                    </a:solidFill>
                  </a:tcPr>
                </a:tc>
              </a:tr>
              <a:tr h="17867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занская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9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мереннное повышение доступности жилья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DEE8"/>
                    </a:solidFill>
                  </a:tcPr>
                </a:tc>
              </a:tr>
              <a:tr h="17867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ижегородская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9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7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мереннное повышение доступности жилья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DEE8"/>
                    </a:solidFill>
                  </a:tcPr>
                </a:tc>
              </a:tr>
              <a:tr h="17867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олгоградская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9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7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мереннное повышение доступности жилья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DEE8"/>
                    </a:solidFill>
                  </a:tcPr>
                </a:tc>
              </a:tr>
              <a:tr h="17867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фимская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9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значительное повышение доступности жилья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FF"/>
                    </a:solidFill>
                  </a:tcPr>
                </a:tc>
              </a:tr>
              <a:tr h="17867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марско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Тольяттинская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8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8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мереннное повышение доступности жилья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DEE8"/>
                    </a:solidFill>
                  </a:tcPr>
                </a:tc>
              </a:tr>
              <a:tr h="17867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катеринбургская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6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rowSpan="7"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илье доступно 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мереннное повышение доступности жилья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DEE8"/>
                    </a:solidFill>
                  </a:tcPr>
                </a:tc>
              </a:tr>
              <a:tr h="17867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ратовская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6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мереннное повышение доступности жилья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DEE8"/>
                    </a:solidFill>
                  </a:tcPr>
                </a:tc>
              </a:tr>
              <a:tr h="17867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мская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4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ступность жилья не изменилась 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</a:tr>
              <a:tr h="17867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елябинская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4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значительное повышение доступности жилья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FF"/>
                    </a:solidFill>
                  </a:tcPr>
                </a:tc>
              </a:tr>
              <a:tr h="17867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стовская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4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8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мереннное повышение доступности жилья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DEE8"/>
                    </a:solidFill>
                  </a:tcPr>
                </a:tc>
              </a:tr>
              <a:tr h="17867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оронежская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2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начительное повышение доступности жилья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</a:tr>
              <a:tr h="17867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раснодарская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8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ru-RU" sz="16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9</a:t>
                      </a:r>
                      <a:endParaRPr lang="ru-RU" sz="1600" b="1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начительное повышение доступности жилья</a:t>
                      </a:r>
                    </a:p>
                  </a:txBody>
                  <a:tcPr marL="8785" marR="8785" marT="87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127714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0"/>
            <a:ext cx="9144000" cy="1556792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34888"/>
            <a:ext cx="8229600" cy="1143000"/>
          </a:xfrm>
        </p:spPr>
        <p:txBody>
          <a:bodyPr>
            <a:noAutofit/>
          </a:bodyPr>
          <a:lstStyle/>
          <a:p>
            <a:r>
              <a:rPr lang="ru-RU" sz="2800" b="1" kern="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ступность жилья в зарубежных агломерациях</a:t>
            </a:r>
            <a:endParaRPr lang="ru-RU" sz="2800" b="1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51520" y="1556792"/>
            <a:ext cx="8229600" cy="5112568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endParaRPr lang="ru-RU" sz="24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endParaRPr lang="ru-RU" sz="24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endParaRPr lang="ru-RU" sz="2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FF39AB-B043-4145-9443-2A657DCFEAC8}" type="slidenum">
              <a:rPr lang="ru-RU" smtClean="0">
                <a:solidFill>
                  <a:prstClr val="white"/>
                </a:solidFill>
              </a:rPr>
              <a:pPr/>
              <a:t>31</a:t>
            </a:fld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8225" y="6375357"/>
            <a:ext cx="485775" cy="476250"/>
          </a:xfrm>
          <a:prstGeom prst="rect">
            <a:avLst/>
          </a:prstGeom>
        </p:spPr>
      </p:pic>
      <p:sp>
        <p:nvSpPr>
          <p:cNvPr id="9" name="Rectangle 1"/>
          <p:cNvSpPr>
            <a:spLocks noChangeArrowheads="1"/>
          </p:cNvSpPr>
          <p:nvPr/>
        </p:nvSpPr>
        <p:spPr bwMode="auto">
          <a:xfrm>
            <a:off x="457200" y="25273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ru-RU" altLang="ru-RU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</a:br>
            <a:endParaRPr lang="ru-RU" altLang="ru-RU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251520" y="6159913"/>
            <a:ext cx="5069016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точник: </a:t>
            </a:r>
          </a:p>
          <a:p>
            <a:r>
              <a:rPr lang="en-US" sz="11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nual </a:t>
            </a:r>
            <a:r>
              <a:rPr lang="en-US" sz="11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graphia</a:t>
            </a:r>
            <a:r>
              <a:rPr lang="en-US" sz="11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ternational Housing Affordability </a:t>
            </a:r>
            <a:r>
              <a:rPr lang="en-US" sz="11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rvey</a:t>
            </a:r>
            <a:r>
              <a:rPr lang="ru-RU" sz="11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2011-2017 гг.</a:t>
            </a:r>
            <a:endParaRPr lang="en-US" sz="1100" dirty="0" smtClean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95536" y="3933056"/>
            <a:ext cx="8148051" cy="1872853"/>
          </a:xfrm>
          <a:prstGeom prst="roundRect">
            <a:avLst/>
          </a:prstGeom>
          <a:solidFill>
            <a:srgbClr val="00B0F0"/>
          </a:solidFill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целом доступность приобретения жилья в российских агломерациях выше, чем в некоторых зарубежных</a:t>
            </a:r>
          </a:p>
          <a:p>
            <a:r>
              <a:rPr lang="ru-RU" sz="12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днако расчеты по России исходят из меньшей площади жилья (54 кв. м) – в России относительно более высокая доступность жилья обусловлена так же и более низкими качественными характеристиками жилья</a:t>
            </a:r>
          </a:p>
          <a:p>
            <a:endParaRPr lang="ru-RU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4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ондон и Гонконг – устойчивое снижение доступности жилья, Нью-Йорк и Сингапур – незначительное повышение доступности жилья</a:t>
            </a:r>
          </a:p>
          <a:p>
            <a:r>
              <a:rPr lang="ru-RU" sz="14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сийские агломерации – противоположный тренд на умеренное или значительное повышение доступности жилья</a:t>
            </a:r>
          </a:p>
        </p:txBody>
      </p:sp>
      <p:graphicFrame>
        <p:nvGraphicFramePr>
          <p:cNvPr id="14" name="Таблица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0236753"/>
              </p:ext>
            </p:extLst>
          </p:nvPr>
        </p:nvGraphicFramePr>
        <p:xfrm>
          <a:off x="457200" y="2132856"/>
          <a:ext cx="8229602" cy="168998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584176"/>
                <a:gridCol w="795824"/>
                <a:gridCol w="976031"/>
                <a:gridCol w="976031"/>
                <a:gridCol w="976031"/>
                <a:gridCol w="976031"/>
                <a:gridCol w="976031"/>
                <a:gridCol w="969447"/>
              </a:tblGrid>
              <a:tr h="56832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родская агломерация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0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1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2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3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4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5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</a:tr>
              <a:tr h="21031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ью-Йорк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1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2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2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2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1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9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7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</a:tr>
              <a:tr h="21031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ондон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2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9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8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3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,5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,5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,5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</a:tr>
              <a:tr h="21031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ингапур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9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1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8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</a:tr>
              <a:tr h="21031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нконг 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,4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,6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,5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,9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,1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sp>
        <p:nvSpPr>
          <p:cNvPr id="17" name="TextBox 16"/>
          <p:cNvSpPr txBox="1"/>
          <p:nvPr/>
        </p:nvSpPr>
        <p:spPr>
          <a:xfrm>
            <a:off x="2087724" y="1628800"/>
            <a:ext cx="49685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эффициент доступности  жилья, лет</a:t>
            </a:r>
            <a:endParaRPr lang="ru-RU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9543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0"/>
            <a:ext cx="9144000" cy="105273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ctr"/>
          <a:lstStyle/>
          <a:p>
            <a:pPr algn="ctr" defTabSz="914290"/>
            <a:endParaRPr lang="ru-RU" sz="28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8357" y="0"/>
            <a:ext cx="8507288" cy="1143000"/>
          </a:xfrm>
        </p:spPr>
        <p:txBody>
          <a:bodyPr>
            <a:normAutofit/>
          </a:bodyPr>
          <a:lstStyle/>
          <a:p>
            <a:r>
              <a:rPr lang="ru-RU" sz="2800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адостроительный и инвестиционный потенциал российских агломераций до 2050 г.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51520" y="1556792"/>
            <a:ext cx="8229600" cy="5112568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buFont typeface="Wingdings" panose="05000000000000000000" pitchFamily="2" charset="2"/>
              <a:buChar char="v"/>
            </a:pP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FF39AB-B043-4145-9443-2A657DCFEAC8}" type="slidenum">
              <a:rPr lang="ru-RU" smtClean="0">
                <a:solidFill>
                  <a:prstClr val="white"/>
                </a:solidFill>
              </a:rPr>
              <a:pPr/>
              <a:t>32</a:t>
            </a:fld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8226" y="6375357"/>
            <a:ext cx="485775" cy="476250"/>
          </a:xfrm>
          <a:prstGeom prst="rect">
            <a:avLst/>
          </a:prstGeom>
        </p:spPr>
      </p:pic>
      <p:graphicFrame>
        <p:nvGraphicFramePr>
          <p:cNvPr id="8" name="Таблица 7">
            <a:extLst>
              <a:ext uri="{FF2B5EF4-FFF2-40B4-BE49-F238E27FC236}">
                <a16:creationId xmlns="" xmlns:a16="http://schemas.microsoft.com/office/drawing/2014/main" id="{F7EB844F-530D-5647-94E0-F4F556D2FA5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0143920"/>
              </p:ext>
            </p:extLst>
          </p:nvPr>
        </p:nvGraphicFramePr>
        <p:xfrm>
          <a:off x="302351" y="1791402"/>
          <a:ext cx="7308303" cy="4877190"/>
        </p:xfrm>
        <a:graphic>
          <a:graphicData uri="http://schemas.openxmlformats.org/drawingml/2006/table">
            <a:tbl>
              <a:tblPr firstRow="1" bandRow="1">
                <a:tableStyleId>{FABFCF23-3B69-468F-B69F-88F6DE6A72F2}</a:tableStyleId>
              </a:tblPr>
              <a:tblGrid>
                <a:gridCol w="2632828">
                  <a:extLst>
                    <a:ext uri="{9D8B030D-6E8A-4147-A177-3AD203B41FA5}">
                      <a16:colId xmlns="" xmlns:a16="http://schemas.microsoft.com/office/drawing/2014/main" val="852356413"/>
                    </a:ext>
                  </a:extLst>
                </a:gridCol>
                <a:gridCol w="2482146">
                  <a:extLst>
                    <a:ext uri="{9D8B030D-6E8A-4147-A177-3AD203B41FA5}">
                      <a16:colId xmlns="" xmlns:a16="http://schemas.microsoft.com/office/drawing/2014/main" val="3383898144"/>
                    </a:ext>
                  </a:extLst>
                </a:gridCol>
                <a:gridCol w="2193329">
                  <a:extLst>
                    <a:ext uri="{9D8B030D-6E8A-4147-A177-3AD203B41FA5}">
                      <a16:colId xmlns="" xmlns:a16="http://schemas.microsoft.com/office/drawing/2014/main" val="3398475419"/>
                    </a:ext>
                  </a:extLst>
                </a:gridCol>
              </a:tblGrid>
              <a:tr h="687593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гломерация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1358" marR="3135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радостроительный потенциал, млн кв. м общей площади жилых помещений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1358" marR="3135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вестиционный потенциал, трлн руб.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1358" marR="31358" marT="0" marB="0" anchor="ctr"/>
                </a:tc>
                <a:extLst>
                  <a:ext uri="{0D108BD9-81ED-4DB2-BD59-A6C34878D82A}">
                    <a16:rowId xmlns="" xmlns:a16="http://schemas.microsoft.com/office/drawing/2014/main" val="3626235035"/>
                  </a:ext>
                </a:extLst>
              </a:tr>
              <a:tr h="22919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осковская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1358" marR="3135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7,4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1358" marR="31358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2346727964"/>
                  </a:ext>
                </a:extLst>
              </a:tr>
              <a:tr h="22919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нкт-Петербургская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1358" marR="3135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7,7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1358" marR="31358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,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2517570092"/>
                  </a:ext>
                </a:extLst>
              </a:tr>
              <a:tr h="22919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ижегородская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1358" marR="3135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9,9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1358" marR="31358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98164538"/>
                  </a:ext>
                </a:extLst>
              </a:tr>
              <a:tr h="22919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занская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1358" marR="3135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,6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1358" marR="31358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3752970480"/>
                  </a:ext>
                </a:extLst>
              </a:tr>
              <a:tr h="22919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фимская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1358" marR="3135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,1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1358" marR="31358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2494671371"/>
                  </a:ext>
                </a:extLst>
              </a:tr>
              <a:tr h="22919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марско</a:t>
                      </a: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Тольяттинская 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1358" marR="3135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6,7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1358" marR="31358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951797816"/>
                  </a:ext>
                </a:extLst>
              </a:tr>
              <a:tr h="22919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катеринбургская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1358" marR="3135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,1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1358" marR="31358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2157868907"/>
                  </a:ext>
                </a:extLst>
              </a:tr>
              <a:tr h="22919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овосибирская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1358" marR="3135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2,0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1358" marR="31358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759695452"/>
                  </a:ext>
                </a:extLst>
              </a:tr>
              <a:tr h="22919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елябинская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1358" marR="3135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8,7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1358" marR="31358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328506400"/>
                  </a:ext>
                </a:extLst>
              </a:tr>
              <a:tr h="22919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расноярская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1358" marR="3135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,0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1358" marR="31358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91291416"/>
                  </a:ext>
                </a:extLst>
              </a:tr>
              <a:tr h="22919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ладивостокская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1358" marR="3135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,2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1358" marR="31358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312688147"/>
                  </a:ext>
                </a:extLst>
              </a:tr>
              <a:tr h="22919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стовская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1358" marR="3135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,8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1358" marR="31358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859570916"/>
                  </a:ext>
                </a:extLst>
              </a:tr>
              <a:tr h="22919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раснодарская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1358" marR="3135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,4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1358" marR="31358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3994497494"/>
                  </a:ext>
                </a:extLst>
              </a:tr>
              <a:tr h="22919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ратовская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1358" marR="3135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,6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1358" marR="31358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306927348"/>
                  </a:ext>
                </a:extLst>
              </a:tr>
              <a:tr h="22919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мская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1358" marR="3135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,2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1358" marR="31358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749182130"/>
                  </a:ext>
                </a:extLst>
              </a:tr>
              <a:tr h="22919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олгоградская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1358" marR="3135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,9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1358" marR="31358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3181176269"/>
                  </a:ext>
                </a:extLst>
              </a:tr>
              <a:tr h="22919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оронежская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1358" marR="3135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,1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1358" marR="31358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788030928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278076" y="1052736"/>
            <a:ext cx="8856984" cy="751854"/>
          </a:xfrm>
          <a:prstGeom prst="rect">
            <a:avLst/>
          </a:prstGeom>
          <a:noFill/>
        </p:spPr>
        <p:txBody>
          <a:bodyPr wrap="square" lIns="91429" tIns="45715" rIns="91429" bIns="45715" rtlCol="0">
            <a:spAutoFit/>
          </a:bodyPr>
          <a:lstStyle/>
          <a:p>
            <a:pPr defTabSz="914180"/>
            <a:r>
              <a:rPr lang="ru-RU" sz="1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вокупный градостроительный потенциал территорий жилой застройки в результате </a:t>
            </a:r>
            <a:r>
              <a:rPr lang="ru-RU" sz="14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девелопмента</a:t>
            </a:r>
            <a:r>
              <a:rPr lang="ru-RU" sz="1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 увеличением плотности застройки составляет 855 млн кв. м, его реализация требует </a:t>
            </a:r>
            <a:r>
              <a:rPr lang="ru-RU" sz="14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7 </a:t>
            </a:r>
            <a:r>
              <a:rPr lang="ru-RU" sz="1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лн руб. инвестиций в жилищное строительству и инфраструктуру (</a:t>
            </a:r>
            <a:r>
              <a:rPr lang="ru-RU" sz="14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3% </a:t>
            </a:r>
            <a:r>
              <a:rPr lang="ru-RU" sz="1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ВП)</a:t>
            </a:r>
          </a:p>
        </p:txBody>
      </p:sp>
    </p:spTree>
    <p:extLst>
      <p:ext uri="{BB962C8B-B14F-4D97-AF65-F5344CB8AC3E}">
        <p14:creationId xmlns:p14="http://schemas.microsoft.com/office/powerpoint/2010/main" val="3914999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0"/>
            <a:ext cx="9144000" cy="112474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ctr"/>
          <a:lstStyle/>
          <a:p>
            <a:pPr algn="ctr" defTabSz="914290"/>
            <a:endParaRPr lang="ru-RU" sz="28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8357" y="0"/>
            <a:ext cx="8507288" cy="1143000"/>
          </a:xfrm>
        </p:spPr>
        <p:txBody>
          <a:bodyPr>
            <a:noAutofit/>
          </a:bodyPr>
          <a:lstStyle/>
          <a:p>
            <a:r>
              <a:rPr lang="ru-RU" sz="2400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йтинг агломераций по градостроительному потенциалу (по отношению потенциала к существующему жилищному фонду)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51520" y="1556792"/>
            <a:ext cx="8229600" cy="5112568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buFont typeface="Wingdings" panose="05000000000000000000" pitchFamily="2" charset="2"/>
              <a:buChar char="v"/>
            </a:pP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FF39AB-B043-4145-9443-2A657DCFEAC8}" type="slidenum">
              <a:rPr lang="ru-RU" smtClean="0">
                <a:solidFill>
                  <a:prstClr val="white"/>
                </a:solidFill>
              </a:rPr>
              <a:pPr/>
              <a:t>33</a:t>
            </a:fld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8226" y="6375357"/>
            <a:ext cx="485775" cy="476250"/>
          </a:xfrm>
          <a:prstGeom prst="rect">
            <a:avLst/>
          </a:prstGeom>
        </p:spPr>
      </p:pic>
      <p:graphicFrame>
        <p:nvGraphicFramePr>
          <p:cNvPr id="9" name="Таблица 8">
            <a:extLst>
              <a:ext uri="{FF2B5EF4-FFF2-40B4-BE49-F238E27FC236}">
                <a16:creationId xmlns="" xmlns:a16="http://schemas.microsoft.com/office/drawing/2014/main" id="{4CDF8291-6347-8B41-9991-39835D2F98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1539997"/>
              </p:ext>
            </p:extLst>
          </p:nvPr>
        </p:nvGraphicFramePr>
        <p:xfrm>
          <a:off x="179512" y="1268760"/>
          <a:ext cx="7632847" cy="5486400"/>
        </p:xfrm>
        <a:graphic>
          <a:graphicData uri="http://schemas.openxmlformats.org/drawingml/2006/table">
            <a:tbl>
              <a:tblPr firstRow="1" firstCol="1" bandRow="1">
                <a:tableStyleId>{7DF18680-E054-41AD-8BC1-D1AEF772440D}</a:tableStyleId>
              </a:tblPr>
              <a:tblGrid>
                <a:gridCol w="1257893">
                  <a:extLst>
                    <a:ext uri="{9D8B030D-6E8A-4147-A177-3AD203B41FA5}">
                      <a16:colId xmlns="" xmlns:a16="http://schemas.microsoft.com/office/drawing/2014/main" val="23109402"/>
                    </a:ext>
                  </a:extLst>
                </a:gridCol>
                <a:gridCol w="3206603">
                  <a:extLst>
                    <a:ext uri="{9D8B030D-6E8A-4147-A177-3AD203B41FA5}">
                      <a16:colId xmlns="" xmlns:a16="http://schemas.microsoft.com/office/drawing/2014/main" val="3990231068"/>
                    </a:ext>
                  </a:extLst>
                </a:gridCol>
                <a:gridCol w="3168351">
                  <a:extLst>
                    <a:ext uri="{9D8B030D-6E8A-4147-A177-3AD203B41FA5}">
                      <a16:colId xmlns="" xmlns:a16="http://schemas.microsoft.com/office/drawing/2014/main" val="2859685331"/>
                    </a:ext>
                  </a:extLst>
                </a:gridCol>
              </a:tblGrid>
              <a:tr h="70207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зиция в </a:t>
                      </a:r>
                    </a:p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йтинге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гломерация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Отношение градостроительного потенциала к жилищному фонду (2016 г.), %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extLst>
                  <a:ext uri="{0D108BD9-81ED-4DB2-BD59-A6C34878D82A}">
                    <a16:rowId xmlns="" xmlns:a16="http://schemas.microsoft.com/office/drawing/2014/main" val="4250037690"/>
                  </a:ext>
                </a:extLst>
              </a:tr>
              <a:tr h="23402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занская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6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1914770146"/>
                  </a:ext>
                </a:extLst>
              </a:tr>
              <a:tr h="23402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раснодарская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5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3802770824"/>
                  </a:ext>
                </a:extLst>
              </a:tr>
              <a:tr h="23402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елябинская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5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2887128564"/>
                  </a:ext>
                </a:extLst>
              </a:tr>
              <a:tr h="23402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ижегородская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5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4008996177"/>
                  </a:ext>
                </a:extLst>
              </a:tr>
              <a:tr h="23402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расноярская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4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3924712442"/>
                  </a:ext>
                </a:extLst>
              </a:tr>
              <a:tr h="23402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оронежская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4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2903782669"/>
                  </a:ext>
                </a:extLst>
              </a:tr>
              <a:tr h="23402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катеринбургская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1291669039"/>
                  </a:ext>
                </a:extLst>
              </a:tr>
              <a:tr h="23402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овосибирская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7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2034436128"/>
                  </a:ext>
                </a:extLst>
              </a:tr>
              <a:tr h="23402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стовская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3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3021543457"/>
                  </a:ext>
                </a:extLst>
              </a:tr>
              <a:tr h="23402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мская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3667139375"/>
                  </a:ext>
                </a:extLst>
              </a:tr>
              <a:tr h="23402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осковская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9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1316314449"/>
                  </a:ext>
                </a:extLst>
              </a:tr>
              <a:tr h="23402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ратовская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8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3942675585"/>
                  </a:ext>
                </a:extLst>
              </a:tr>
              <a:tr h="23402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марско-Тольяттинская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4077814489"/>
                  </a:ext>
                </a:extLst>
              </a:tr>
              <a:tr h="23402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олгоградская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2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1528743194"/>
                  </a:ext>
                </a:extLst>
              </a:tr>
              <a:tr h="23402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нкт-Петербургская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8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2298167874"/>
                  </a:ext>
                </a:extLst>
              </a:tr>
              <a:tr h="23402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ладивостокская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1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170153671"/>
                  </a:ext>
                </a:extLst>
              </a:tr>
              <a:tr h="23402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фимская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39143396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788811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0"/>
            <a:ext cx="9144000" cy="141277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ctr"/>
          <a:lstStyle/>
          <a:p>
            <a:pPr algn="ctr" defTabSz="914290"/>
            <a:endParaRPr lang="ru-RU" sz="28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34888"/>
            <a:ext cx="8229600" cy="1143000"/>
          </a:xfrm>
        </p:spPr>
        <p:txBody>
          <a:bodyPr>
            <a:normAutofit/>
          </a:bodyPr>
          <a:lstStyle/>
          <a:p>
            <a:r>
              <a:rPr lang="ru-RU" sz="2800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йтинг агломераций по индексу жесткости градостроительного регулирования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51520" y="1556792"/>
            <a:ext cx="8229600" cy="5112568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buFont typeface="Wingdings" panose="05000000000000000000" pitchFamily="2" charset="2"/>
              <a:buChar char="v"/>
            </a:pP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FF39AB-B043-4145-9443-2A657DCFEAC8}" type="slidenum">
              <a:rPr lang="ru-RU" smtClean="0">
                <a:solidFill>
                  <a:prstClr val="white"/>
                </a:solidFill>
              </a:rPr>
              <a:pPr/>
              <a:t>34</a:t>
            </a:fld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8226" y="6375357"/>
            <a:ext cx="485775" cy="476250"/>
          </a:xfrm>
          <a:prstGeom prst="rect">
            <a:avLst/>
          </a:prstGeom>
        </p:spPr>
      </p:pic>
      <p:graphicFrame>
        <p:nvGraphicFramePr>
          <p:cNvPr id="8" name="Таблица 7">
            <a:extLst>
              <a:ext uri="{FF2B5EF4-FFF2-40B4-BE49-F238E27FC236}">
                <a16:creationId xmlns="" xmlns:a16="http://schemas.microsoft.com/office/drawing/2014/main" id="{4CDF8291-6347-8B41-9991-39835D2F98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6551542"/>
              </p:ext>
            </p:extLst>
          </p:nvPr>
        </p:nvGraphicFramePr>
        <p:xfrm>
          <a:off x="1312467" y="1491126"/>
          <a:ext cx="6519066" cy="5281606"/>
        </p:xfrm>
        <a:graphic>
          <a:graphicData uri="http://schemas.openxmlformats.org/drawingml/2006/table">
            <a:tbl>
              <a:tblPr firstRow="1" firstCol="1" bandRow="1">
                <a:tableStyleId>{7DF18680-E054-41AD-8BC1-D1AEF772440D}</a:tableStyleId>
              </a:tblPr>
              <a:tblGrid>
                <a:gridCol w="1074342">
                  <a:extLst>
                    <a:ext uri="{9D8B030D-6E8A-4147-A177-3AD203B41FA5}">
                      <a16:colId xmlns="" xmlns:a16="http://schemas.microsoft.com/office/drawing/2014/main" val="23109402"/>
                    </a:ext>
                  </a:extLst>
                </a:gridCol>
                <a:gridCol w="4086150">
                  <a:extLst>
                    <a:ext uri="{9D8B030D-6E8A-4147-A177-3AD203B41FA5}">
                      <a16:colId xmlns="" xmlns:a16="http://schemas.microsoft.com/office/drawing/2014/main" val="3990231068"/>
                    </a:ext>
                  </a:extLst>
                </a:gridCol>
                <a:gridCol w="1358574">
                  <a:extLst>
                    <a:ext uri="{9D8B030D-6E8A-4147-A177-3AD203B41FA5}">
                      <a16:colId xmlns="" xmlns:a16="http://schemas.microsoft.com/office/drawing/2014/main" val="2859685331"/>
                    </a:ext>
                  </a:extLst>
                </a:gridCol>
              </a:tblGrid>
              <a:tr h="555171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зиция в </a:t>
                      </a:r>
                    </a:p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йтинге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гломерация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начение индекса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extLst>
                  <a:ext uri="{0D108BD9-81ED-4DB2-BD59-A6C34878D82A}">
                    <a16:rowId xmlns="" xmlns:a16="http://schemas.microsoft.com/office/drawing/2014/main" val="4250037690"/>
                  </a:ext>
                </a:extLst>
              </a:tr>
              <a:tr h="27758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овосибирская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79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extLst>
                  <a:ext uri="{0D108BD9-81ED-4DB2-BD59-A6C34878D82A}">
                    <a16:rowId xmlns="" xmlns:a16="http://schemas.microsoft.com/office/drawing/2014/main" val="1914770146"/>
                  </a:ext>
                </a:extLst>
              </a:tr>
              <a:tr h="27758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олгоградская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67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extLst>
                  <a:ext uri="{0D108BD9-81ED-4DB2-BD59-A6C34878D82A}">
                    <a16:rowId xmlns="" xmlns:a16="http://schemas.microsoft.com/office/drawing/2014/main" val="3802770824"/>
                  </a:ext>
                </a:extLst>
              </a:tr>
              <a:tr h="27758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катеринбургская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67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extLst>
                  <a:ext uri="{0D108BD9-81ED-4DB2-BD59-A6C34878D82A}">
                    <a16:rowId xmlns="" xmlns:a16="http://schemas.microsoft.com/office/drawing/2014/main" val="2887128564"/>
                  </a:ext>
                </a:extLst>
              </a:tr>
              <a:tr h="27758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раснодарская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63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extLst>
                  <a:ext uri="{0D108BD9-81ED-4DB2-BD59-A6C34878D82A}">
                    <a16:rowId xmlns="" xmlns:a16="http://schemas.microsoft.com/office/drawing/2014/main" val="4008996177"/>
                  </a:ext>
                </a:extLst>
              </a:tr>
              <a:tr h="27758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мская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63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extLst>
                  <a:ext uri="{0D108BD9-81ED-4DB2-BD59-A6C34878D82A}">
                    <a16:rowId xmlns="" xmlns:a16="http://schemas.microsoft.com/office/drawing/2014/main" val="3924712442"/>
                  </a:ext>
                </a:extLst>
              </a:tr>
              <a:tr h="27758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марско-Тольяттинская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58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extLst>
                  <a:ext uri="{0D108BD9-81ED-4DB2-BD59-A6C34878D82A}">
                    <a16:rowId xmlns="" xmlns:a16="http://schemas.microsoft.com/office/drawing/2014/main" val="2903782669"/>
                  </a:ext>
                </a:extLst>
              </a:tr>
              <a:tr h="27758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оронежская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54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extLst>
                  <a:ext uri="{0D108BD9-81ED-4DB2-BD59-A6C34878D82A}">
                    <a16:rowId xmlns="" xmlns:a16="http://schemas.microsoft.com/office/drawing/2014/main" val="1291669039"/>
                  </a:ext>
                </a:extLst>
              </a:tr>
              <a:tr h="27758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расноярская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54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extLst>
                  <a:ext uri="{0D108BD9-81ED-4DB2-BD59-A6C34878D82A}">
                    <a16:rowId xmlns="" xmlns:a16="http://schemas.microsoft.com/office/drawing/2014/main" val="2034436128"/>
                  </a:ext>
                </a:extLst>
              </a:tr>
              <a:tr h="27758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ладивостокская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50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extLst>
                  <a:ext uri="{0D108BD9-81ED-4DB2-BD59-A6C34878D82A}">
                    <a16:rowId xmlns="" xmlns:a16="http://schemas.microsoft.com/office/drawing/2014/main" val="3021543457"/>
                  </a:ext>
                </a:extLst>
              </a:tr>
              <a:tr h="27758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осковская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50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extLst>
                  <a:ext uri="{0D108BD9-81ED-4DB2-BD59-A6C34878D82A}">
                    <a16:rowId xmlns="" xmlns:a16="http://schemas.microsoft.com/office/drawing/2014/main" val="3667139375"/>
                  </a:ext>
                </a:extLst>
              </a:tr>
              <a:tr h="27758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ижегородская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50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extLst>
                  <a:ext uri="{0D108BD9-81ED-4DB2-BD59-A6C34878D82A}">
                    <a16:rowId xmlns="" xmlns:a16="http://schemas.microsoft.com/office/drawing/2014/main" val="1316314449"/>
                  </a:ext>
                </a:extLst>
              </a:tr>
              <a:tr h="27758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ратовская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50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extLst>
                  <a:ext uri="{0D108BD9-81ED-4DB2-BD59-A6C34878D82A}">
                    <a16:rowId xmlns="" xmlns:a16="http://schemas.microsoft.com/office/drawing/2014/main" val="3942675585"/>
                  </a:ext>
                </a:extLst>
              </a:tr>
              <a:tr h="27758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елябинская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50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extLst>
                  <a:ext uri="{0D108BD9-81ED-4DB2-BD59-A6C34878D82A}">
                    <a16:rowId xmlns="" xmlns:a16="http://schemas.microsoft.com/office/drawing/2014/main" val="4077814489"/>
                  </a:ext>
                </a:extLst>
              </a:tr>
              <a:tr h="27758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нкт-Петербургская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46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extLst>
                  <a:ext uri="{0D108BD9-81ED-4DB2-BD59-A6C34878D82A}">
                    <a16:rowId xmlns="" xmlns:a16="http://schemas.microsoft.com/office/drawing/2014/main" val="1528743194"/>
                  </a:ext>
                </a:extLst>
              </a:tr>
              <a:tr h="285059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фимская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42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extLst>
                  <a:ext uri="{0D108BD9-81ED-4DB2-BD59-A6C34878D82A}">
                    <a16:rowId xmlns="" xmlns:a16="http://schemas.microsoft.com/office/drawing/2014/main" val="2298167874"/>
                  </a:ext>
                </a:extLst>
              </a:tr>
              <a:tr h="27758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занская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28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extLst>
                  <a:ext uri="{0D108BD9-81ED-4DB2-BD59-A6C34878D82A}">
                    <a16:rowId xmlns="" xmlns:a16="http://schemas.microsoft.com/office/drawing/2014/main" val="170153671"/>
                  </a:ext>
                </a:extLst>
              </a:tr>
              <a:tr h="27758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стовская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25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extLst>
                  <a:ext uri="{0D108BD9-81ED-4DB2-BD59-A6C34878D82A}">
                    <a16:rowId xmlns="" xmlns:a16="http://schemas.microsoft.com/office/drawing/2014/main" val="39143396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38216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0"/>
            <a:ext cx="9144000" cy="141277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ctr"/>
          <a:lstStyle/>
          <a:p>
            <a:pPr algn="ctr" defTabSz="914290"/>
            <a:endParaRPr lang="ru-RU" sz="28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34888"/>
            <a:ext cx="8229600" cy="1143000"/>
          </a:xfrm>
        </p:spPr>
        <p:txBody>
          <a:bodyPr>
            <a:normAutofit/>
          </a:bodyPr>
          <a:lstStyle/>
          <a:p>
            <a:r>
              <a:rPr lang="ru-RU" sz="2800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йтинг агломераций по индексу городского расползания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51520" y="1556792"/>
            <a:ext cx="8229600" cy="5112568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buFont typeface="Wingdings" panose="05000000000000000000" pitchFamily="2" charset="2"/>
              <a:buChar char="v"/>
            </a:pP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FF39AB-B043-4145-9443-2A657DCFEAC8}" type="slidenum">
              <a:rPr lang="ru-RU" smtClean="0">
                <a:solidFill>
                  <a:prstClr val="white"/>
                </a:solidFill>
              </a:rPr>
              <a:pPr/>
              <a:t>35</a:t>
            </a:fld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8226" y="6375357"/>
            <a:ext cx="485775" cy="476250"/>
          </a:xfrm>
          <a:prstGeom prst="rect">
            <a:avLst/>
          </a:prstGeom>
        </p:spPr>
      </p:pic>
      <p:graphicFrame>
        <p:nvGraphicFramePr>
          <p:cNvPr id="7" name="Таблица 6">
            <a:extLst>
              <a:ext uri="{FF2B5EF4-FFF2-40B4-BE49-F238E27FC236}">
                <a16:creationId xmlns="" xmlns:a16="http://schemas.microsoft.com/office/drawing/2014/main" id="{08D1FF15-F4F4-404F-84E2-00D9059F56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3450566"/>
              </p:ext>
            </p:extLst>
          </p:nvPr>
        </p:nvGraphicFramePr>
        <p:xfrm>
          <a:off x="1226147" y="1501874"/>
          <a:ext cx="6691707" cy="5277925"/>
        </p:xfrm>
        <a:graphic>
          <a:graphicData uri="http://schemas.openxmlformats.org/drawingml/2006/table">
            <a:tbl>
              <a:tblPr firstRow="1" firstCol="1" bandRow="1">
                <a:tableStyleId>{7DF18680-E054-41AD-8BC1-D1AEF772440D}</a:tableStyleId>
              </a:tblPr>
              <a:tblGrid>
                <a:gridCol w="1203169">
                  <a:extLst>
                    <a:ext uri="{9D8B030D-6E8A-4147-A177-3AD203B41FA5}">
                      <a16:colId xmlns="" xmlns:a16="http://schemas.microsoft.com/office/drawing/2014/main" val="2025488690"/>
                    </a:ext>
                  </a:extLst>
                </a:gridCol>
                <a:gridCol w="4093986">
                  <a:extLst>
                    <a:ext uri="{9D8B030D-6E8A-4147-A177-3AD203B41FA5}">
                      <a16:colId xmlns="" xmlns:a16="http://schemas.microsoft.com/office/drawing/2014/main" val="1775511357"/>
                    </a:ext>
                  </a:extLst>
                </a:gridCol>
                <a:gridCol w="1394552">
                  <a:extLst>
                    <a:ext uri="{9D8B030D-6E8A-4147-A177-3AD203B41FA5}">
                      <a16:colId xmlns="" xmlns:a16="http://schemas.microsoft.com/office/drawing/2014/main" val="3598647442"/>
                    </a:ext>
                  </a:extLst>
                </a:gridCol>
              </a:tblGrid>
              <a:tr h="558963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зиция в </a:t>
                      </a:r>
                    </a:p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йтинге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гломерация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начение индекса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extLst>
                  <a:ext uri="{0D108BD9-81ED-4DB2-BD59-A6C34878D82A}">
                    <a16:rowId xmlns="" xmlns:a16="http://schemas.microsoft.com/office/drawing/2014/main" val="542607866"/>
                  </a:ext>
                </a:extLst>
              </a:tr>
              <a:tr h="27758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елябинская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00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extLst>
                  <a:ext uri="{0D108BD9-81ED-4DB2-BD59-A6C34878D82A}">
                    <a16:rowId xmlns="" xmlns:a16="http://schemas.microsoft.com/office/drawing/2014/main" val="1936093425"/>
                  </a:ext>
                </a:extLst>
              </a:tr>
              <a:tr h="27758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катеринбургская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83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extLst>
                  <a:ext uri="{0D108BD9-81ED-4DB2-BD59-A6C34878D82A}">
                    <a16:rowId xmlns="" xmlns:a16="http://schemas.microsoft.com/office/drawing/2014/main" val="1465823424"/>
                  </a:ext>
                </a:extLst>
              </a:tr>
              <a:tr h="27758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олгоградская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73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extLst>
                  <a:ext uri="{0D108BD9-81ED-4DB2-BD59-A6C34878D82A}">
                    <a16:rowId xmlns="" xmlns:a16="http://schemas.microsoft.com/office/drawing/2014/main" val="2230425368"/>
                  </a:ext>
                </a:extLst>
              </a:tr>
              <a:tr h="27758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ижегородская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67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extLst>
                  <a:ext uri="{0D108BD9-81ED-4DB2-BD59-A6C34878D82A}">
                    <a16:rowId xmlns="" xmlns:a16="http://schemas.microsoft.com/office/drawing/2014/main" val="3389410164"/>
                  </a:ext>
                </a:extLst>
              </a:tr>
              <a:tr h="27758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овосибирская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67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extLst>
                  <a:ext uri="{0D108BD9-81ED-4DB2-BD59-A6C34878D82A}">
                    <a16:rowId xmlns="" xmlns:a16="http://schemas.microsoft.com/office/drawing/2014/main" val="927104502"/>
                  </a:ext>
                </a:extLst>
              </a:tr>
              <a:tr h="27758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фимская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67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extLst>
                  <a:ext uri="{0D108BD9-81ED-4DB2-BD59-A6C34878D82A}">
                    <a16:rowId xmlns="" xmlns:a16="http://schemas.microsoft.com/office/drawing/2014/main" val="3418451127"/>
                  </a:ext>
                </a:extLst>
              </a:tr>
              <a:tr h="27758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оронежская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63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extLst>
                  <a:ext uri="{0D108BD9-81ED-4DB2-BD59-A6C34878D82A}">
                    <a16:rowId xmlns="" xmlns:a16="http://schemas.microsoft.com/office/drawing/2014/main" val="3557328012"/>
                  </a:ext>
                </a:extLst>
              </a:tr>
              <a:tr h="27758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стовская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57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extLst>
                  <a:ext uri="{0D108BD9-81ED-4DB2-BD59-A6C34878D82A}">
                    <a16:rowId xmlns="" xmlns:a16="http://schemas.microsoft.com/office/drawing/2014/main" val="761281477"/>
                  </a:ext>
                </a:extLst>
              </a:tr>
              <a:tr h="27758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марско-Тольяттинская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57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extLst>
                  <a:ext uri="{0D108BD9-81ED-4DB2-BD59-A6C34878D82A}">
                    <a16:rowId xmlns="" xmlns:a16="http://schemas.microsoft.com/office/drawing/2014/main" val="4042560467"/>
                  </a:ext>
                </a:extLst>
              </a:tr>
              <a:tr h="27758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нкт-Петербургская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57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extLst>
                  <a:ext uri="{0D108BD9-81ED-4DB2-BD59-A6C34878D82A}">
                    <a16:rowId xmlns="" xmlns:a16="http://schemas.microsoft.com/office/drawing/2014/main" val="1454168325"/>
                  </a:ext>
                </a:extLst>
              </a:tr>
              <a:tr h="27758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мская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40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extLst>
                  <a:ext uri="{0D108BD9-81ED-4DB2-BD59-A6C34878D82A}">
                    <a16:rowId xmlns="" xmlns:a16="http://schemas.microsoft.com/office/drawing/2014/main" val="2357387159"/>
                  </a:ext>
                </a:extLst>
              </a:tr>
              <a:tr h="27758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занская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33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extLst>
                  <a:ext uri="{0D108BD9-81ED-4DB2-BD59-A6C34878D82A}">
                    <a16:rowId xmlns="" xmlns:a16="http://schemas.microsoft.com/office/drawing/2014/main" val="2800482652"/>
                  </a:ext>
                </a:extLst>
              </a:tr>
              <a:tr h="27758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расноярская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33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extLst>
                  <a:ext uri="{0D108BD9-81ED-4DB2-BD59-A6C34878D82A}">
                    <a16:rowId xmlns="" xmlns:a16="http://schemas.microsoft.com/office/drawing/2014/main" val="3704491365"/>
                  </a:ext>
                </a:extLst>
              </a:tr>
              <a:tr h="27758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ладивостокская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23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extLst>
                  <a:ext uri="{0D108BD9-81ED-4DB2-BD59-A6C34878D82A}">
                    <a16:rowId xmlns="" xmlns:a16="http://schemas.microsoft.com/office/drawing/2014/main" val="3599690565"/>
                  </a:ext>
                </a:extLst>
              </a:tr>
              <a:tr h="27758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раснодарская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17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extLst>
                  <a:ext uri="{0D108BD9-81ED-4DB2-BD59-A6C34878D82A}">
                    <a16:rowId xmlns="" xmlns:a16="http://schemas.microsoft.com/office/drawing/2014/main" val="1510789229"/>
                  </a:ext>
                </a:extLst>
              </a:tr>
              <a:tr h="27758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осковская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7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extLst>
                  <a:ext uri="{0D108BD9-81ED-4DB2-BD59-A6C34878D82A}">
                    <a16:rowId xmlns="" xmlns:a16="http://schemas.microsoft.com/office/drawing/2014/main" val="2667985755"/>
                  </a:ext>
                </a:extLst>
              </a:tr>
              <a:tr h="27758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ратовская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0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045" marR="51045" marT="0" marB="0" anchor="ctr"/>
                </a:tc>
                <a:extLst>
                  <a:ext uri="{0D108BD9-81ED-4DB2-BD59-A6C34878D82A}">
                    <a16:rowId xmlns="" xmlns:a16="http://schemas.microsoft.com/office/drawing/2014/main" val="11342285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15545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0" y="845429"/>
            <a:ext cx="9144000" cy="12592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extBox 1"/>
          <p:cNvSpPr txBox="1"/>
          <p:nvPr/>
        </p:nvSpPr>
        <p:spPr>
          <a:xfrm>
            <a:off x="323528" y="137543"/>
            <a:ext cx="842493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следование влияния пространственного развития на экономику города</a:t>
            </a:r>
            <a:endParaRPr lang="ru-RU" sz="2000" dirty="0">
              <a:solidFill>
                <a:schemeClr val="bg1"/>
              </a:solidFill>
            </a:endParaRPr>
          </a:p>
        </p:txBody>
      </p:sp>
      <p:sp>
        <p:nvSpPr>
          <p:cNvPr id="77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/>
              <a:t>36</a:t>
            </a:fld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323528" y="908720"/>
            <a:ext cx="8424936" cy="59093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b="1" dirty="0" smtClean="0">
                <a:latin typeface="Arial" pitchFamily="34" charset="0"/>
                <a:cs typeface="Arial" pitchFamily="34" charset="0"/>
              </a:rPr>
              <a:t>Цель</a:t>
            </a:r>
          </a:p>
          <a:p>
            <a:pPr lvl="0" algn="ctr"/>
            <a:r>
              <a:rPr lang="ru-RU" dirty="0" smtClean="0">
                <a:latin typeface="Arial" pitchFamily="34" charset="0"/>
                <a:cs typeface="Arial" pitchFamily="34" charset="0"/>
              </a:rPr>
              <a:t>Проверка теоретических гипотез о связи между пространственными и экономическими процессами на территориях агломераций (на примере Нижегородской, Краснодарской и Пермской агломераций)</a:t>
            </a:r>
          </a:p>
          <a:p>
            <a:pPr lvl="0"/>
            <a:endParaRPr lang="ru-RU" b="1" dirty="0">
              <a:latin typeface="Arial" pitchFamily="34" charset="0"/>
              <a:cs typeface="Arial" pitchFamily="34" charset="0"/>
            </a:endParaRPr>
          </a:p>
          <a:p>
            <a:pPr lvl="0" algn="ctr"/>
            <a:r>
              <a:rPr lang="ru-RU" b="1" dirty="0" smtClean="0">
                <a:latin typeface="Arial" pitchFamily="34" charset="0"/>
                <a:cs typeface="Arial" pitchFamily="34" charset="0"/>
              </a:rPr>
              <a:t>Теоретические гипотезы</a:t>
            </a:r>
          </a:p>
          <a:p>
            <a:pPr lvl="0" algn="ctr"/>
            <a:endParaRPr lang="ru-RU" b="1" dirty="0" smtClean="0">
              <a:latin typeface="Arial" pitchFamily="34" charset="0"/>
              <a:cs typeface="Arial" pitchFamily="34" charset="0"/>
            </a:endParaRPr>
          </a:p>
          <a:p>
            <a:pPr lvl="0" algn="ctr"/>
            <a:r>
              <a:rPr lang="ru-RU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1. 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Инвестиции в жилищное строительство сконцентрированы преимущественно в ядре агломерации</a:t>
            </a:r>
          </a:p>
          <a:p>
            <a:pPr lvl="0" algn="ctr"/>
            <a:r>
              <a:rPr lang="ru-RU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2. 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Инвестиции в жилищное строительство положительно влияют на бюджетные доходы</a:t>
            </a:r>
          </a:p>
          <a:p>
            <a:pPr algn="ctr"/>
            <a:r>
              <a:rPr lang="ru-RU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3. </a:t>
            </a:r>
            <a:r>
              <a:rPr lang="ru-RU" dirty="0">
                <a:latin typeface="Arial" pitchFamily="34" charset="0"/>
                <a:cs typeface="Arial" pitchFamily="34" charset="0"/>
              </a:rPr>
              <a:t>Обеспеченность площадью жилья в ядре агломерации ниже, чем на периферии </a:t>
            </a:r>
          </a:p>
          <a:p>
            <a:pPr lvl="0" algn="ctr"/>
            <a:r>
              <a:rPr lang="ru-RU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4. 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Совокупная рыночная капитализация жилья в расчете на душу населения в ядре агломерации выше, чем на периферии </a:t>
            </a:r>
          </a:p>
          <a:p>
            <a:pPr lvl="0" algn="ctr"/>
            <a:r>
              <a:rPr lang="ru-RU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5. 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Доступность жилья  выше на периферии агломерации, чем в ядре (по соотношению медианной цены жилья к медианному доходу семьи) </a:t>
            </a:r>
          </a:p>
          <a:p>
            <a:pPr lvl="0" algn="ctr"/>
            <a:r>
              <a:rPr lang="ru-RU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6. 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Качество планировки </a:t>
            </a:r>
            <a:r>
              <a:rPr lang="ru-RU" dirty="0">
                <a:latin typeface="Arial" pitchFamily="34" charset="0"/>
                <a:cs typeface="Arial" pitchFamily="34" charset="0"/>
              </a:rPr>
              <a:t>территории (плотность жилой застройки, 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плотность </a:t>
            </a:r>
            <a:r>
              <a:rPr lang="ru-RU" dirty="0">
                <a:latin typeface="Arial" pitchFamily="34" charset="0"/>
                <a:cs typeface="Arial" pitchFamily="34" charset="0"/>
              </a:rPr>
              <a:t>улично-дорожной сети, процент </a:t>
            </a:r>
            <a:r>
              <a:rPr lang="ru-RU" dirty="0" err="1">
                <a:latin typeface="Arial" pitchFamily="34" charset="0"/>
                <a:cs typeface="Arial" pitchFamily="34" charset="0"/>
              </a:rPr>
              <a:t>застроенности</a:t>
            </a:r>
            <a:r>
              <a:rPr lang="ru-RU" dirty="0">
                <a:latin typeface="Arial" pitchFamily="34" charset="0"/>
                <a:cs typeface="Arial" pitchFamily="34" charset="0"/>
              </a:rPr>
              <a:t> жилой территории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)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дифференцировано в ядре и на периферии агломерации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и определяет рыночную ценность застройки </a:t>
            </a:r>
            <a:endParaRPr lang="ru-RU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7480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0" y="845429"/>
            <a:ext cx="9144000" cy="12592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23528" y="188640"/>
            <a:ext cx="84249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ЧЕМУ ДЛЯ АНАЛИЗА ВЫБРАНЫ ИМЕННО ЭТИ 3 АГЛОМЕРАЦИИ?</a:t>
            </a: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77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27938"/>
            <a:ext cx="9144000" cy="49653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Овал 3"/>
          <p:cNvSpPr/>
          <p:nvPr/>
        </p:nvSpPr>
        <p:spPr>
          <a:xfrm>
            <a:off x="1691684" y="3632571"/>
            <a:ext cx="144016" cy="144016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/>
          <p:cNvSpPr/>
          <p:nvPr/>
        </p:nvSpPr>
        <p:spPr>
          <a:xfrm>
            <a:off x="2267746" y="3466601"/>
            <a:ext cx="144016" cy="144016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Овал 8"/>
          <p:cNvSpPr/>
          <p:nvPr/>
        </p:nvSpPr>
        <p:spPr>
          <a:xfrm>
            <a:off x="1450556" y="4725144"/>
            <a:ext cx="144016" cy="144016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TextBox 4"/>
          <p:cNvSpPr txBox="1"/>
          <p:nvPr/>
        </p:nvSpPr>
        <p:spPr>
          <a:xfrm>
            <a:off x="946496" y="3362371"/>
            <a:ext cx="12961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/>
              <a:t>Нижегородская </a:t>
            </a:r>
            <a:endParaRPr lang="ru-RU" sz="1200" b="1" dirty="0"/>
          </a:p>
        </p:txBody>
      </p:sp>
      <p:sp>
        <p:nvSpPr>
          <p:cNvPr id="12" name="TextBox 11"/>
          <p:cNvSpPr txBox="1"/>
          <p:nvPr/>
        </p:nvSpPr>
        <p:spPr>
          <a:xfrm>
            <a:off x="2051720" y="3189610"/>
            <a:ext cx="12961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/>
              <a:t>Пермская </a:t>
            </a:r>
            <a:endParaRPr lang="ru-RU" sz="1200" b="1" dirty="0"/>
          </a:p>
        </p:txBody>
      </p:sp>
      <p:sp>
        <p:nvSpPr>
          <p:cNvPr id="13" name="TextBox 12"/>
          <p:cNvSpPr txBox="1"/>
          <p:nvPr/>
        </p:nvSpPr>
        <p:spPr>
          <a:xfrm>
            <a:off x="1619672" y="4730668"/>
            <a:ext cx="12961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/>
              <a:t>Краснодарская</a:t>
            </a:r>
            <a:endParaRPr lang="ru-RU" sz="1200" b="1" dirty="0"/>
          </a:p>
        </p:txBody>
      </p:sp>
    </p:spTree>
    <p:extLst>
      <p:ext uri="{BB962C8B-B14F-4D97-AF65-F5344CB8AC3E}">
        <p14:creationId xmlns:p14="http://schemas.microsoft.com/office/powerpoint/2010/main" val="331031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 descr="\\fss\АИЖК 2017\Мат-лы Habidatum\ИТОГОВАЯ итерация\Карты (плотность + связанные территорий)\perm_all_layers_2018-02-28.jpe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" y="1412776"/>
            <a:ext cx="7541845" cy="5333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0" y="0"/>
            <a:ext cx="9144000" cy="141277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ctr"/>
          <a:lstStyle/>
          <a:p>
            <a:pPr algn="ctr" defTabSz="914290"/>
            <a:endParaRPr lang="ru-RU" sz="28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34888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раткая характеристика градостроительного развития </a:t>
            </a:r>
            <a:r>
              <a:rPr lang="ru-RU" sz="2000" b="1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/>
            </a:r>
            <a:br>
              <a:rPr lang="ru-RU" sz="2000" b="1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ru-RU" sz="2000" b="1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ермской </a:t>
            </a:r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гломерации</a:t>
            </a:r>
            <a:b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ru-RU" sz="1600" i="1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Основано на исследовании «Анализ состояния жилищной сферы на территориях основных российских городских агломераций», выполненного по заказу АО "ДОМ.РФ")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51520" y="1556792"/>
            <a:ext cx="8229600" cy="5112568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buFont typeface="Wingdings" panose="05000000000000000000" pitchFamily="2" charset="2"/>
              <a:buChar char="v"/>
            </a:pP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FF39AB-B043-4145-9443-2A657DCFEAC8}" type="slidenum">
              <a:rPr lang="ru-RU" smtClean="0">
                <a:solidFill>
                  <a:prstClr val="white"/>
                </a:solidFill>
              </a:rPr>
              <a:pPr/>
              <a:t>38</a:t>
            </a:fld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10243" name="Picture 3" descr="\\fss\АИЖК 2017\Мат-лы Habidatum\ИТОГОВАЯ итерация\Графики средней плотности\perm_res_density_by_zone_2018-03-01_abline.jpe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051" y="1561696"/>
            <a:ext cx="3904950" cy="186730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9" name="Таблица 8">
            <a:extLst>
              <a:ext uri="{FF2B5EF4-FFF2-40B4-BE49-F238E27FC236}">
                <a16:creationId xmlns="" xmlns:a16="http://schemas.microsoft.com/office/drawing/2014/main" id="{3A351214-A672-5C4E-8296-88635326FE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3877277"/>
              </p:ext>
            </p:extLst>
          </p:nvPr>
        </p:nvGraphicFramePr>
        <p:xfrm>
          <a:off x="5057078" y="3831964"/>
          <a:ext cx="3851920" cy="2923336"/>
        </p:xfrm>
        <a:graphic>
          <a:graphicData uri="http://schemas.openxmlformats.org/drawingml/2006/table">
            <a:tbl>
              <a:tblPr bandRow="1">
                <a:tableStyleId>{793D81CF-94F2-401A-BA57-92F5A7B2D0C5}</a:tableStyleId>
              </a:tblPr>
              <a:tblGrid>
                <a:gridCol w="2372543">
                  <a:extLst>
                    <a:ext uri="{9D8B030D-6E8A-4147-A177-3AD203B41FA5}">
                      <a16:colId xmlns="" xmlns:a16="http://schemas.microsoft.com/office/drawing/2014/main" val="3751328335"/>
                    </a:ext>
                  </a:extLst>
                </a:gridCol>
                <a:gridCol w="1479377">
                  <a:extLst>
                    <a:ext uri="{9D8B030D-6E8A-4147-A177-3AD203B41FA5}">
                      <a16:colId xmlns="" xmlns:a16="http://schemas.microsoft.com/office/drawing/2014/main" val="2041586817"/>
                    </a:ext>
                  </a:extLst>
                </a:gridCol>
              </a:tblGrid>
              <a:tr h="762000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мпы роста населения в 2010-2016 гг.</a:t>
                      </a:r>
                      <a:endParaRPr lang="ru-RU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редние (4,3%</a:t>
                      </a: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- до 1,3 млн. чел.) </a:t>
                      </a:r>
                      <a:endParaRPr lang="ru-RU" sz="11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ru-RU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492224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мпы роста объемов жилищного строительства </a:t>
                      </a:r>
                    </a:p>
                    <a:p>
                      <a:pPr algn="ctr"/>
                      <a:r>
                        <a:rPr lang="ru-RU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0 и</a:t>
                      </a:r>
                      <a:r>
                        <a:rPr lang="ru-RU" sz="11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 гг.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ысокие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2 %</a:t>
                      </a:r>
                      <a:endParaRPr lang="ru-RU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492224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ступность</a:t>
                      </a: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риобретения жилья</a:t>
                      </a:r>
                      <a:endParaRPr lang="ru-RU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ысокая (2,4 года)</a:t>
                      </a:r>
                      <a:endParaRPr lang="ru-RU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480392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ровень городского расползания</a:t>
                      </a:r>
                      <a:endParaRPr lang="ru-RU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редний (11 место из 17)</a:t>
                      </a:r>
                      <a:endParaRPr lang="ru-RU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2982761685"/>
                  </a:ext>
                </a:extLst>
              </a:tr>
              <a:tr h="594360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ровень</a:t>
                      </a: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гласованности градостроительной политики между МО</a:t>
                      </a:r>
                      <a:endParaRPr lang="ru-RU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10 место из 17)</a:t>
                      </a:r>
                      <a:endParaRPr lang="ru-RU" sz="11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ru-RU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60274145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33874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\\fss\АИЖК 2017\Мат-лы Habidatum\ИТОГОВАЯ итерация\Карты (плотность + связанные территорий)\nizhnynovgorod_all_layers_2018-02-28.jpe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211783"/>
            <a:ext cx="8024342" cy="56750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0" y="0"/>
            <a:ext cx="9144000" cy="141277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ctr"/>
          <a:lstStyle/>
          <a:p>
            <a:pPr algn="ctr" defTabSz="914290"/>
            <a:endParaRPr lang="ru-RU" sz="28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34888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раткая характеристика градостроительного развития </a:t>
            </a:r>
            <a:r>
              <a:rPr lang="ru-RU" sz="2000" b="1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/>
            </a:r>
            <a:br>
              <a:rPr lang="ru-RU" sz="2000" b="1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ru-RU" sz="2000" b="1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ижегородской </a:t>
            </a:r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гломерации</a:t>
            </a:r>
            <a:b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ru-RU" sz="1600" i="1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Основано на исследовании «Анализ состояния жилищной сферы на территориях основных российских городских агломераций», выполненного по заказу АО "ДОМ.РФ")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51520" y="1556792"/>
            <a:ext cx="8229600" cy="5112568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buFont typeface="Wingdings" panose="05000000000000000000" pitchFamily="2" charset="2"/>
              <a:buChar char="v"/>
            </a:pP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FF39AB-B043-4145-9443-2A657DCFEAC8}" type="slidenum">
              <a:rPr lang="ru-RU" smtClean="0">
                <a:solidFill>
                  <a:prstClr val="white"/>
                </a:solidFill>
              </a:rPr>
              <a:pPr/>
              <a:t>39</a:t>
            </a:fld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8195" name="Picture 3" descr="\\fss\АИЖК 2017\Мат-лы Habidatum\ИТОГОВАЯ итерация\Графики средней плотности\nizhnynovgorod_res_density_by_zone_2018-03-01_abline.jpe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1050" y="1555489"/>
            <a:ext cx="3917948" cy="1873519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0" name="Таблица 9">
            <a:extLst>
              <a:ext uri="{FF2B5EF4-FFF2-40B4-BE49-F238E27FC236}">
                <a16:creationId xmlns="" xmlns:a16="http://schemas.microsoft.com/office/drawing/2014/main" id="{3A351214-A672-5C4E-8296-88635326FE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9876062"/>
              </p:ext>
            </p:extLst>
          </p:nvPr>
        </p:nvGraphicFramePr>
        <p:xfrm>
          <a:off x="5057078" y="3933056"/>
          <a:ext cx="3851920" cy="2923336"/>
        </p:xfrm>
        <a:graphic>
          <a:graphicData uri="http://schemas.openxmlformats.org/drawingml/2006/table">
            <a:tbl>
              <a:tblPr bandRow="1">
                <a:tableStyleId>{793D81CF-94F2-401A-BA57-92F5A7B2D0C5}</a:tableStyleId>
              </a:tblPr>
              <a:tblGrid>
                <a:gridCol w="2372543">
                  <a:extLst>
                    <a:ext uri="{9D8B030D-6E8A-4147-A177-3AD203B41FA5}">
                      <a16:colId xmlns="" xmlns:a16="http://schemas.microsoft.com/office/drawing/2014/main" val="3751328335"/>
                    </a:ext>
                  </a:extLst>
                </a:gridCol>
                <a:gridCol w="1479377">
                  <a:extLst>
                    <a:ext uri="{9D8B030D-6E8A-4147-A177-3AD203B41FA5}">
                      <a16:colId xmlns="" xmlns:a16="http://schemas.microsoft.com/office/drawing/2014/main" val="2041586817"/>
                    </a:ext>
                  </a:extLst>
                </a:gridCol>
              </a:tblGrid>
              <a:tr h="762000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мпы роста населения в 2010-2016 гг.</a:t>
                      </a:r>
                      <a:endParaRPr lang="ru-RU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изкие (0,1%</a:t>
                      </a: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- до 2,1 млн. чел.) </a:t>
                      </a:r>
                      <a:endParaRPr lang="ru-RU" sz="11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ru-RU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492224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мпы роста объемов жилищного строительства </a:t>
                      </a:r>
                    </a:p>
                    <a:p>
                      <a:pPr algn="ctr"/>
                      <a:r>
                        <a:rPr lang="ru-RU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0 и</a:t>
                      </a:r>
                      <a:r>
                        <a:rPr lang="ru-RU" sz="11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 гг.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редние </a:t>
                      </a:r>
                    </a:p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 %</a:t>
                      </a:r>
                      <a:endParaRPr lang="ru-RU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492224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ступность</a:t>
                      </a: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риобретения жилья</a:t>
                      </a:r>
                      <a:endParaRPr lang="ru-RU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изкая (2,9 года)</a:t>
                      </a:r>
                      <a:endParaRPr lang="ru-RU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480392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ровень городского расползания</a:t>
                      </a:r>
                      <a:endParaRPr lang="ru-RU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редний (4 место из 17)</a:t>
                      </a:r>
                      <a:endParaRPr lang="ru-RU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2982761685"/>
                  </a:ext>
                </a:extLst>
              </a:tr>
              <a:tr h="594360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ровень</a:t>
                      </a: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гласованности градостроительной политики между МО</a:t>
                      </a:r>
                      <a:endParaRPr lang="ru-RU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2 место из 17)</a:t>
                      </a:r>
                      <a:endParaRPr lang="ru-RU" sz="11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ru-RU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60274145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582156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571809" y="476376"/>
            <a:ext cx="8385326" cy="679422"/>
          </a:xfrm>
        </p:spPr>
        <p:txBody>
          <a:bodyPr anchor="ctr">
            <a:normAutofit fontScale="90000"/>
          </a:bodyPr>
          <a:lstStyle/>
          <a:p>
            <a:r>
              <a:rPr lang="ru-RU" dirty="0" smtClean="0"/>
              <a:t>Вклад исследуемых агломераций в </a:t>
            </a:r>
            <a:r>
              <a:rPr lang="ru-RU" dirty="0" err="1" smtClean="0"/>
              <a:t>ввп</a:t>
            </a:r>
            <a:r>
              <a:rPr lang="ru-RU" dirty="0" smtClean="0"/>
              <a:t> в 2016 году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half" idx="2"/>
          </p:nvPr>
        </p:nvSpPr>
        <p:spPr>
          <a:xfrm>
            <a:off x="571809" y="1264980"/>
            <a:ext cx="4228491" cy="4515356"/>
          </a:xfrm>
        </p:spPr>
        <p:txBody>
          <a:bodyPr>
            <a:normAutofit/>
          </a:bodyPr>
          <a:lstStyle/>
          <a:p>
            <a:r>
              <a:rPr lang="ru-RU" sz="2280" dirty="0" smtClean="0"/>
              <a:t>Общий вклад 45 агломераций в </a:t>
            </a:r>
            <a:r>
              <a:rPr lang="ru-RU" sz="2280" b="1" dirty="0" smtClean="0"/>
              <a:t>ВВП</a:t>
            </a:r>
            <a:r>
              <a:rPr lang="ru-RU" sz="2280" dirty="0" smtClean="0"/>
              <a:t> – </a:t>
            </a:r>
            <a:r>
              <a:rPr lang="ru-RU" sz="2280" b="1" dirty="0" smtClean="0">
                <a:solidFill>
                  <a:srgbClr val="FF0000"/>
                </a:solidFill>
              </a:rPr>
              <a:t>43,7%</a:t>
            </a:r>
            <a:r>
              <a:rPr lang="ru-RU" sz="2280" dirty="0" smtClean="0"/>
              <a:t>, в </a:t>
            </a:r>
            <a:r>
              <a:rPr lang="ru-RU" sz="2280" b="1" dirty="0" smtClean="0"/>
              <a:t>население</a:t>
            </a:r>
            <a:r>
              <a:rPr lang="ru-RU" sz="2280" dirty="0" smtClean="0"/>
              <a:t> – </a:t>
            </a:r>
            <a:r>
              <a:rPr lang="ru-RU" sz="2280" b="1" dirty="0" smtClean="0">
                <a:solidFill>
                  <a:srgbClr val="FF0000"/>
                </a:solidFill>
              </a:rPr>
              <a:t>47,3%</a:t>
            </a:r>
            <a:endParaRPr lang="en-US" sz="2280" b="1" dirty="0" smtClean="0">
              <a:solidFill>
                <a:srgbClr val="FF0000"/>
              </a:solidFill>
            </a:endParaRPr>
          </a:p>
          <a:p>
            <a:r>
              <a:rPr lang="ru-RU" sz="2280" dirty="0" smtClean="0"/>
              <a:t>При этом из всех агломераций только для группы А характерно превышение вклада в ВВП над вкладом в население страны (признак высокого уровня развития)</a:t>
            </a:r>
          </a:p>
          <a:p>
            <a:endParaRPr lang="ru-RU" sz="2280" dirty="0" smtClean="0"/>
          </a:p>
          <a:p>
            <a:endParaRPr lang="ru-RU" sz="2280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B281E-F444-1144-B042-5FE9A7BB944A}" type="slidenum">
              <a:rPr lang="ru-RU" smtClean="0">
                <a:gradFill>
                  <a:gsLst>
                    <a:gs pos="0">
                      <a:srgbClr val="002060"/>
                    </a:gs>
                    <a:gs pos="100000">
                      <a:srgbClr val="5B9BD5">
                        <a:lumMod val="75000"/>
                      </a:srgbClr>
                    </a:gs>
                  </a:gsLst>
                  <a:path path="circle">
                    <a:fillToRect t="100000" r="100000"/>
                  </a:path>
                </a:gradFill>
              </a:rPr>
              <a:pPr/>
              <a:t>4</a:t>
            </a:fld>
            <a:endParaRPr lang="ru-RU">
              <a:gradFill>
                <a:gsLst>
                  <a:gs pos="0">
                    <a:srgbClr val="002060"/>
                  </a:gs>
                  <a:gs pos="100000">
                    <a:srgbClr val="5B9BD5">
                      <a:lumMod val="75000"/>
                    </a:srgbClr>
                  </a:gs>
                </a:gsLst>
                <a:path path="circle">
                  <a:fillToRect t="100000" r="100000"/>
                </a:path>
              </a:gradFill>
            </a:endParaRPr>
          </a:p>
        </p:txBody>
      </p:sp>
      <p:graphicFrame>
        <p:nvGraphicFramePr>
          <p:cNvPr id="10" name="Диаграмма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76836392"/>
              </p:ext>
            </p:extLst>
          </p:nvPr>
        </p:nvGraphicFramePr>
        <p:xfrm>
          <a:off x="4485308" y="2923953"/>
          <a:ext cx="4471827" cy="29946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504771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0" y="845429"/>
            <a:ext cx="9144000" cy="12592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23528" y="188642"/>
            <a:ext cx="84249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УЛЬТАТЫ ПРОВЕРКИ ГИПОТЕЗ В ОТНОШЕНИИ НИЖЕГОРОДСКОЙ АГЛОМЕРАЦИИ </a:t>
            </a: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77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4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8403810"/>
              </p:ext>
            </p:extLst>
          </p:nvPr>
        </p:nvGraphicFramePr>
        <p:xfrm>
          <a:off x="467548" y="1124747"/>
          <a:ext cx="8424937" cy="5638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17287"/>
                <a:gridCol w="1791327"/>
                <a:gridCol w="1791327"/>
                <a:gridCol w="1624996"/>
              </a:tblGrid>
              <a:tr h="509389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ипотеза</a:t>
                      </a:r>
                      <a:r>
                        <a:rPr lang="ru-RU" sz="1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ижегородская агломерация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раснодарская агломерация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мская агломерация 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5933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. 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Инвестиции в жилищное строительство сконцентрированы преимущественно в ядре агломерации </a:t>
                      </a:r>
                      <a:endParaRPr kumimoji="0" lang="ru-RU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800" b="1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28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+</a:t>
                      </a:r>
                    </a:p>
                    <a:p>
                      <a:endParaRPr lang="ru-RU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800" b="1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28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76294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. 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Инвестиции в жилищное строительство положительно влияют на бюджетные доходы и расходы на развитие инфраструктуры</a:t>
                      </a:r>
                      <a:endParaRPr kumimoji="0" lang="ru-RU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</a:p>
                    <a:p>
                      <a:endParaRPr lang="ru-RU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F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+</a:t>
                      </a:r>
                      <a:r>
                        <a:rPr kumimoji="0" lang="en-US" sz="2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F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2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F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</a:p>
                    <a:p>
                      <a:endParaRPr lang="ru-RU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/>
                </a:tc>
              </a:tr>
              <a:tr h="5933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. 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Обеспеченность площадью жилья в ядре агломерации ниже, чем на периферии </a:t>
                      </a:r>
                      <a:endParaRPr kumimoji="0" lang="ru-RU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+</a:t>
                      </a:r>
                    </a:p>
                    <a:p>
                      <a:endParaRPr lang="ru-RU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</a:p>
                    <a:p>
                      <a:endParaRPr lang="ru-RU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</a:p>
                    <a:p>
                      <a:endParaRPr lang="ru-RU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76294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4. 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овокупная рыночная капитализация жилья в расчете на душу населения в ядре агломерации выше, чем на периферии </a:t>
                      </a:r>
                      <a:endParaRPr kumimoji="0" lang="ru-RU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+</a:t>
                      </a:r>
                    </a:p>
                    <a:p>
                      <a:endParaRPr lang="ru-RU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76294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5. 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Доступность жилья  выше на периферии агломерации, чем в ядре (по соотношению медианной цены жилья к медианному доходу семьи) </a:t>
                      </a:r>
                      <a:endParaRPr kumimoji="0" lang="ru-RU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</a:p>
                    <a:p>
                      <a:endParaRPr lang="ru-RU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</a:p>
                    <a:p>
                      <a:endParaRPr lang="ru-RU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</a:p>
                    <a:p>
                      <a:endParaRPr lang="ru-RU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1271570">
                <a:tc>
                  <a:txBody>
                    <a:bodyPr/>
                    <a:lstStyle/>
                    <a:p>
                      <a:pPr algn="l"/>
                      <a:r>
                        <a:rPr lang="ru-RU" sz="1200" b="1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 </a:t>
                      </a: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чество планировки территории (плотность жилой застройки, плотность улично-дорожной сети, процент </a:t>
                      </a:r>
                      <a:r>
                        <a:rPr lang="ru-RU" sz="12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строенности</a:t>
                      </a: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жилой территории) дифференцировано в ядре и на периферии агломерации и определяет рыночную ценность застройки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F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+</a:t>
                      </a:r>
                      <a:r>
                        <a:rPr kumimoji="0" lang="en-US" sz="2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F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2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F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</a:p>
                    <a:p>
                      <a:endParaRPr lang="ru-RU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F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+</a:t>
                      </a:r>
                      <a:r>
                        <a:rPr kumimoji="0" lang="en-US" sz="2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F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2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F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F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+</a:t>
                      </a:r>
                      <a:r>
                        <a:rPr kumimoji="0" lang="en-US" sz="2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F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2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F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</a:p>
                    <a:p>
                      <a:endParaRPr lang="ru-RU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54056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845429"/>
            <a:ext cx="9144000" cy="12592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503" y="908720"/>
            <a:ext cx="7401802" cy="5233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7" name="TextBox 36"/>
          <p:cNvSpPr txBox="1"/>
          <p:nvPr/>
        </p:nvSpPr>
        <p:spPr>
          <a:xfrm>
            <a:off x="361503" y="188640"/>
            <a:ext cx="842493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3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800" dirty="0" smtClean="0">
                <a:solidFill>
                  <a:prstClr val="white"/>
                </a:solidFill>
              </a:rPr>
              <a:t>Краснодарская </a:t>
            </a:r>
            <a:r>
              <a:rPr lang="ru-RU" sz="1800" dirty="0">
                <a:solidFill>
                  <a:prstClr val="white"/>
                </a:solidFill>
              </a:rPr>
              <a:t>агломерация</a:t>
            </a:r>
          </a:p>
          <a:p>
            <a:endParaRPr lang="ru-RU" sz="1800" dirty="0">
              <a:solidFill>
                <a:prstClr val="white"/>
              </a:solidFill>
            </a:endParaRPr>
          </a:p>
          <a:p>
            <a:endParaRPr lang="ru-RU" sz="1800" dirty="0">
              <a:solidFill>
                <a:prstClr val="white"/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23528" y="1796710"/>
            <a:ext cx="864096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b="1" dirty="0" smtClean="0">
              <a:solidFill>
                <a:srgbClr val="1F497D"/>
              </a:solidFill>
            </a:endParaRPr>
          </a:p>
          <a:p>
            <a:endParaRPr lang="ru-RU" dirty="0" smtClean="0">
              <a:solidFill>
                <a:srgbClr val="1F497D"/>
              </a:solidFill>
            </a:endParaRPr>
          </a:p>
        </p:txBody>
      </p:sp>
      <p:sp>
        <p:nvSpPr>
          <p:cNvPr id="39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4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933953" y="3212981"/>
            <a:ext cx="2914029" cy="2936617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селение – 1,4 млн чел.</a:t>
            </a:r>
          </a:p>
          <a:p>
            <a:r>
              <a:rPr lang="ru-RU" sz="14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личество муниципалитетов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4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ГО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4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МР (4 ГП, 40 СП)</a:t>
            </a:r>
          </a:p>
          <a:p>
            <a:r>
              <a:rPr lang="ru-RU" sz="14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ля населения в ядре – 67,3%</a:t>
            </a:r>
          </a:p>
          <a:p>
            <a:r>
              <a:rPr lang="ru-RU" sz="14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ность жильем – 27,1 </a:t>
            </a:r>
            <a:r>
              <a:rPr lang="ru-RU" sz="1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в. </a:t>
            </a:r>
            <a:r>
              <a:rPr lang="ru-RU" sz="14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 на 1 чел.</a:t>
            </a:r>
            <a:endParaRPr lang="ru-RU" sz="14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4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вод жилья на душу населения – 1,74 кв. м на 1 чел.</a:t>
            </a:r>
          </a:p>
          <a:p>
            <a:r>
              <a:rPr lang="ru-RU" sz="14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ступность жилья – 1,8 года</a:t>
            </a:r>
          </a:p>
        </p:txBody>
      </p:sp>
      <p:pic>
        <p:nvPicPr>
          <p:cNvPr id="11" name="Рисунок 10" descr="C:\Users\Popov.FOND\Desktop\АИЖК\Легенда - 2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503" y="2104701"/>
            <a:ext cx="2267882" cy="75596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30789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33172" y="116632"/>
            <a:ext cx="84249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3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800" dirty="0">
                <a:solidFill>
                  <a:prstClr val="white"/>
                </a:solidFill>
              </a:rPr>
              <a:t>Инвестиции в жилищное </a:t>
            </a:r>
            <a:r>
              <a:rPr lang="ru-RU" sz="1800" dirty="0" smtClean="0">
                <a:solidFill>
                  <a:prstClr val="white"/>
                </a:solidFill>
              </a:rPr>
              <a:t>строительство сконцентрированы в ядре агломерации</a:t>
            </a:r>
            <a:endParaRPr lang="ru-RU" sz="1800" dirty="0">
              <a:solidFill>
                <a:prstClr val="white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0" y="845429"/>
            <a:ext cx="9144000" cy="12592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0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553200" y="6356368"/>
            <a:ext cx="2133600" cy="365125"/>
          </a:xfrm>
        </p:spPr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42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Номер слайда 4"/>
          <p:cNvSpPr txBox="1">
            <a:spLocks/>
          </p:cNvSpPr>
          <p:nvPr/>
        </p:nvSpPr>
        <p:spPr>
          <a:xfrm>
            <a:off x="6553200" y="635636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42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539556" y="4437119"/>
            <a:ext cx="3015492" cy="1800201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агломерации наиболее активно жилищное строительство развивается в </a:t>
            </a:r>
            <a:r>
              <a:rPr lang="ru-RU" sz="11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ядре - 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ГО Краснодар. Активное развитие жилищного строительства на территории </a:t>
            </a:r>
            <a:r>
              <a:rPr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хтамукайского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йона 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условлено близостью к Краснодару, район расположен близко к центру </a:t>
            </a:r>
            <a:r>
              <a:rPr lang="ru-RU" sz="11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ядра</a:t>
            </a:r>
          </a:p>
          <a:p>
            <a:r>
              <a:rPr lang="ru-RU" sz="11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другую сторону от р. Кубань).</a:t>
            </a:r>
          </a:p>
        </p:txBody>
      </p:sp>
      <p:graphicFrame>
        <p:nvGraphicFramePr>
          <p:cNvPr id="13" name="Диаграмма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06058561"/>
              </p:ext>
            </p:extLst>
          </p:nvPr>
        </p:nvGraphicFramePr>
        <p:xfrm>
          <a:off x="54182" y="900837"/>
          <a:ext cx="3792490" cy="37185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539552" y="6237313"/>
            <a:ext cx="82089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Здесь и на всех остальных слайдах, где представлены графики с показателями по муниципальным образованиям, произведено ранжирование МО по уровню ввода жилья на душу населения</a:t>
            </a:r>
            <a:endParaRPr lang="ru-RU" sz="9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3923928" y="900837"/>
            <a:ext cx="472076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100" b="1" i="0" u="none" strike="noStrike" kern="1200" baseline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ru-RU" sz="11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рта: Инвестиции в жилищное строительство </a:t>
            </a:r>
          </a:p>
          <a:p>
            <a:pPr algn="ctr">
              <a:defRPr sz="1100" b="1" i="0" u="none" strike="noStrike" kern="1200" baseline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ru-RU" sz="11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1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6 г., тыс. руб. на душу </a:t>
            </a:r>
            <a:r>
              <a:rPr lang="ru-RU" sz="11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селения</a:t>
            </a:r>
            <a:endParaRPr lang="ru-RU" sz="11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Picture 2" descr="C:\Users\Bobrova\Documents\Индикаторы\карты\1_Краснодар_Инвестиции в жилищное строительство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571" b="7407"/>
          <a:stretch/>
        </p:blipFill>
        <p:spPr bwMode="auto">
          <a:xfrm>
            <a:off x="3923932" y="1534067"/>
            <a:ext cx="4710123" cy="4623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00074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0" y="845429"/>
            <a:ext cx="9144000" cy="12592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12269" y="116632"/>
            <a:ext cx="84249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ходы бюджетов на инфраструктуру и инвестиционная активность взаимосвязаны слабо</a:t>
            </a: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2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553200" y="6356368"/>
            <a:ext cx="2133600" cy="365125"/>
          </a:xfrm>
        </p:spPr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43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4" name="Номер слайда 4"/>
          <p:cNvSpPr txBox="1">
            <a:spLocks/>
          </p:cNvSpPr>
          <p:nvPr/>
        </p:nvSpPr>
        <p:spPr>
          <a:xfrm>
            <a:off x="6553200" y="635636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43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539556" y="4437119"/>
            <a:ext cx="3015492" cy="1800201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1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фраструктура как и инвестиционная активность сконцентрированы на четырех основных территориях: 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 Краснодар, </a:t>
            </a:r>
            <a:r>
              <a:rPr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хтамукайском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йоне, ГО Горячий Ключ, ГО </a:t>
            </a:r>
            <a:r>
              <a:rPr lang="ru-RU" sz="11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ыгейск. Это свидетельствует о наличии взаимосвязи развития жилой застройки и инфраструктуры.</a:t>
            </a:r>
            <a:endParaRPr lang="ru-RU" sz="11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6" name="Диаграмма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2113997"/>
              </p:ext>
            </p:extLst>
          </p:nvPr>
        </p:nvGraphicFramePr>
        <p:xfrm>
          <a:off x="1" y="854732"/>
          <a:ext cx="3978588" cy="33141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7" name="Прямоугольник 16"/>
          <p:cNvSpPr/>
          <p:nvPr/>
        </p:nvSpPr>
        <p:spPr>
          <a:xfrm>
            <a:off x="3713083" y="909882"/>
            <a:ext cx="536666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100" b="1" i="0" u="none" strike="noStrike" kern="1200" baseline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ru-RU" sz="11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рта: </a:t>
            </a:r>
            <a:r>
              <a:rPr lang="ru-RU" sz="11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ходы местных бюджетов на ЖКХ, транспорт и дорожное хозяйство в 2016 г., тыс. руб. на душу населения</a:t>
            </a:r>
          </a:p>
        </p:txBody>
      </p:sp>
      <p:pic>
        <p:nvPicPr>
          <p:cNvPr id="18" name="Picture 3" descr="C:\Users\Bobrova\Documents\Индикаторы\карты\2_Краснодар_Бюджетные инвестиции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332" r="3054" b="7843"/>
          <a:stretch/>
        </p:blipFill>
        <p:spPr bwMode="auto">
          <a:xfrm>
            <a:off x="3923928" y="1516474"/>
            <a:ext cx="4566967" cy="4720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63580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/>
        </p:nvSpPr>
        <p:spPr>
          <a:xfrm>
            <a:off x="0" y="845429"/>
            <a:ext cx="9144000" cy="12592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" y="44625"/>
            <a:ext cx="9144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вязь между расходами бюджетов на инфраструктуру и бюджетной обеспеченностью в муниципалитете </a:t>
            </a:r>
            <a:r>
              <a:rPr lang="ru-RU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утствует </a:t>
            </a:r>
            <a:endParaRPr lang="ru-RU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553200" y="6356368"/>
            <a:ext cx="2133600" cy="365125"/>
          </a:xfrm>
        </p:spPr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4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7" name="Номер слайда 4"/>
          <p:cNvSpPr txBox="1">
            <a:spLocks/>
          </p:cNvSpPr>
          <p:nvPr/>
        </p:nvSpPr>
        <p:spPr>
          <a:xfrm>
            <a:off x="6553200" y="635636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4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3691151"/>
              </p:ext>
            </p:extLst>
          </p:nvPr>
        </p:nvGraphicFramePr>
        <p:xfrm>
          <a:off x="395536" y="1535378"/>
          <a:ext cx="3015492" cy="4837680"/>
        </p:xfrm>
        <a:graphic>
          <a:graphicData uri="http://schemas.openxmlformats.org/drawingml/2006/table">
            <a:tbl>
              <a:tblPr>
                <a:tableStyleId>{073A0DAA-6AF3-43AB-8588-CEC1D06C72B9}</a:tableStyleId>
              </a:tblPr>
              <a:tblGrid>
                <a:gridCol w="1005164"/>
                <a:gridCol w="1005164"/>
                <a:gridCol w="1005164"/>
              </a:tblGrid>
              <a:tr h="1859339">
                <a:tc>
                  <a:txBody>
                    <a:bodyPr/>
                    <a:lstStyle/>
                    <a:p>
                      <a:pPr algn="l" fontAlgn="b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На 1 руб. инвестиций в жилищное строительство приходится расходов местных бюджетов на ЖКХ, транспорт и дорожное хозяйство, руб./руб.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Доходы местного бюджета на душу, тыс. руб.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293577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kern="12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ГО Краснодар</a:t>
                      </a:r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,07</a:t>
                      </a:r>
                      <a:endParaRPr lang="ru-RU" sz="1000" b="1" u="none" strike="noStrike" kern="1200" dirty="0">
                        <a:solidFill>
                          <a:srgbClr val="FF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4,7</a:t>
                      </a:r>
                      <a:endParaRPr lang="ru-RU" sz="1000" b="1" u="none" strike="noStrike" kern="1200" dirty="0">
                        <a:solidFill>
                          <a:srgbClr val="FF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178581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kern="12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ГО Адыгейск</a:t>
                      </a:r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kern="1200" dirty="0"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,31</a:t>
                      </a:r>
                      <a:endParaRPr lang="ru-RU" sz="1000" b="1" i="0" u="none" strike="noStrike" kern="1200" dirty="0">
                        <a:solidFill>
                          <a:srgbClr val="FF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kern="1200" dirty="0"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4,9</a:t>
                      </a:r>
                      <a:endParaRPr lang="ru-RU" sz="1000" b="1" i="0" u="none" strike="noStrike" kern="1200" dirty="0">
                        <a:solidFill>
                          <a:srgbClr val="FF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178581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kern="12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ГО Горячий Ключ</a:t>
                      </a:r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kern="12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0,13</a:t>
                      </a:r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kern="12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20,1</a:t>
                      </a:r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421306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kern="1200" dirty="0" err="1">
                          <a:effectLst/>
                          <a:latin typeface="Arial" pitchFamily="34" charset="0"/>
                          <a:cs typeface="Arial" pitchFamily="34" charset="0"/>
                        </a:rPr>
                        <a:t>Тахтамукайский</a:t>
                      </a:r>
                      <a:r>
                        <a:rPr lang="ru-RU" sz="1000" u="none" strike="noStrike" kern="12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 район</a:t>
                      </a:r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kern="12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0,02</a:t>
                      </a:r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kern="12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3,3</a:t>
                      </a:r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421306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kern="1200">
                          <a:effectLst/>
                          <a:latin typeface="Arial" pitchFamily="34" charset="0"/>
                          <a:cs typeface="Arial" pitchFamily="34" charset="0"/>
                        </a:rPr>
                        <a:t>Теучежский район</a:t>
                      </a:r>
                      <a:endParaRPr lang="ru-RU" sz="1000" u="none" strike="noStrike" kern="120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kern="12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0,10</a:t>
                      </a:r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kern="12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7,2</a:t>
                      </a:r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421306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kern="1200">
                          <a:effectLst/>
                          <a:latin typeface="Arial" pitchFamily="34" charset="0"/>
                          <a:cs typeface="Arial" pitchFamily="34" charset="0"/>
                        </a:rPr>
                        <a:t>Красногвардейский район</a:t>
                      </a:r>
                      <a:endParaRPr lang="ru-RU" sz="1000" u="none" strike="noStrike" kern="120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kern="12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0,80</a:t>
                      </a:r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kern="12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4,8</a:t>
                      </a:r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421306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kern="1200">
                          <a:effectLst/>
                          <a:latin typeface="Arial" pitchFamily="34" charset="0"/>
                          <a:cs typeface="Arial" pitchFamily="34" charset="0"/>
                        </a:rPr>
                        <a:t>Динской район</a:t>
                      </a:r>
                      <a:endParaRPr lang="ru-RU" sz="1000" u="none" strike="noStrike" kern="120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kern="12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0,01</a:t>
                      </a:r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kern="12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5,6</a:t>
                      </a:r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506634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kern="1200" dirty="0" err="1">
                          <a:effectLst/>
                          <a:latin typeface="Arial" pitchFamily="34" charset="0"/>
                          <a:cs typeface="Arial" pitchFamily="34" charset="0"/>
                        </a:rPr>
                        <a:t>Усть-Лабинский</a:t>
                      </a:r>
                      <a:r>
                        <a:rPr lang="ru-RU" sz="1000" u="none" strike="noStrike" kern="12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 район</a:t>
                      </a:r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kern="12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0,01</a:t>
                      </a:r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kern="12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5,2</a:t>
                      </a:r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sp>
        <p:nvSpPr>
          <p:cNvPr id="19" name="Прямоугольник 18"/>
          <p:cNvSpPr/>
          <p:nvPr/>
        </p:nvSpPr>
        <p:spPr>
          <a:xfrm>
            <a:off x="3923931" y="925541"/>
            <a:ext cx="471012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400" b="1" i="0" u="none" strike="noStrike" kern="1200" baseline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ru-RU" sz="1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рта: </a:t>
            </a:r>
            <a:r>
              <a:rPr lang="ru-RU" sz="1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ходы местных бюджетов на ЖКХ, транспорт и дорожное хозяйство </a:t>
            </a:r>
            <a:r>
              <a:rPr lang="ru-RU" sz="1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ru-RU" sz="1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руб. инвестиций в жилищное строительство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395538" y="908720"/>
            <a:ext cx="301549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400" b="1" i="0" u="none" strike="noStrike" kern="1200" baseline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ru-RU" sz="1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лица: </a:t>
            </a:r>
            <a:r>
              <a:rPr lang="ru-RU" sz="1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ходы местных бюджетов на ЖКХ, транспорт и дорожное хозяйство на 1 руб. инвестиций в жилищное строительство</a:t>
            </a:r>
          </a:p>
        </p:txBody>
      </p:sp>
      <p:pic>
        <p:nvPicPr>
          <p:cNvPr id="21" name="Picture 2" descr="C:\Users\Bobrova\Documents\Индикаторы\карты\3_Краснодар_Расходы местных бюджетов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269" b="5387"/>
          <a:stretch/>
        </p:blipFill>
        <p:spPr bwMode="auto">
          <a:xfrm>
            <a:off x="3822847" y="1475462"/>
            <a:ext cx="4951885" cy="494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3" descr="C:\Users\Bobrova\Documents\Индикаторы\карты\3_Краснодар_Расходы местных бюджетов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47" b="7909"/>
          <a:stretch/>
        </p:blipFill>
        <p:spPr bwMode="auto">
          <a:xfrm>
            <a:off x="3822847" y="1475001"/>
            <a:ext cx="4973158" cy="4846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/>
          <p:cNvSpPr txBox="1"/>
          <p:nvPr/>
        </p:nvSpPr>
        <p:spPr>
          <a:xfrm>
            <a:off x="3411031" y="4587723"/>
            <a:ext cx="1376994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ходы бюджета  относительно инвестиций  в жилищное строительство  ГО Адыгейска  в 4 раза выше, чем в Краснодаре, </a:t>
            </a:r>
            <a:r>
              <a:rPr lang="ru-RU" sz="1000" b="1" u="sng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одинаковой бюджетной обеспеченности</a:t>
            </a:r>
            <a:endParaRPr lang="ru-RU" sz="1000" b="1" u="sng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2700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0" y="845429"/>
            <a:ext cx="9144000" cy="12592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23528" y="53004"/>
            <a:ext cx="8424936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ность жильем </a:t>
            </a:r>
            <a:r>
              <a:rPr lang="ru-RU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лабо дифференцирована по территории агломерации</a:t>
            </a:r>
            <a:endParaRPr lang="ru-RU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539552" y="4437112"/>
            <a:ext cx="3024336" cy="20716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ибольшее значение жилищной обеспеченности, выше чем по агломерации в целом в </a:t>
            </a:r>
            <a:r>
              <a:rPr lang="ru-RU" sz="11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аснодаре, 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то связано с более высоким развитием жилищного строительства, чем в других муниципальных образованиях. В поселениях </a:t>
            </a:r>
            <a:r>
              <a:rPr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хтамукайского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униципального района показатель ввода жилья значительно превышает уровень </a:t>
            </a:r>
            <a:r>
              <a:rPr lang="ru-RU" sz="11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аснодара, что скорее связано с миграцией населения в центр агломерации. </a:t>
            </a:r>
            <a:endParaRPr lang="ru-RU" sz="11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2" name="Диаграмма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84457750"/>
              </p:ext>
            </p:extLst>
          </p:nvPr>
        </p:nvGraphicFramePr>
        <p:xfrm>
          <a:off x="-36512" y="922555"/>
          <a:ext cx="3600400" cy="34425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Прямоугольник 12"/>
          <p:cNvSpPr/>
          <p:nvPr/>
        </p:nvSpPr>
        <p:spPr>
          <a:xfrm>
            <a:off x="3923931" y="921931"/>
            <a:ext cx="471012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100" b="1" i="0" u="none" strike="noStrike" kern="1200" baseline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ru-RU" sz="11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рта: </a:t>
            </a:r>
            <a:r>
              <a:rPr lang="ru-RU" sz="11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ность жильем в 2016 г., кв. м на человека</a:t>
            </a:r>
          </a:p>
        </p:txBody>
      </p:sp>
      <p:pic>
        <p:nvPicPr>
          <p:cNvPr id="14" name="Picture 2" descr="C:\Users\Bobrova\Documents\Индикаторы\карты\5_Краснодар_Обеспеченность жильем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806" r="6201" b="6480"/>
          <a:stretch/>
        </p:blipFill>
        <p:spPr bwMode="auto">
          <a:xfrm>
            <a:off x="3555044" y="1439195"/>
            <a:ext cx="5131756" cy="52822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53200" y="6356368"/>
            <a:ext cx="2133600" cy="365125"/>
          </a:xfrm>
        </p:spPr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4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6" name="Picture 2" descr="C:\Users\Bobrova\Documents\Индикаторы\карты\5_Краснодар_Обеспеченность жильем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0" r="7136" b="7715"/>
          <a:stretch/>
        </p:blipFill>
        <p:spPr bwMode="auto">
          <a:xfrm>
            <a:off x="3542689" y="1379156"/>
            <a:ext cx="5350138" cy="54788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Номер слайда 3"/>
          <p:cNvSpPr txBox="1">
            <a:spLocks/>
          </p:cNvSpPr>
          <p:nvPr/>
        </p:nvSpPr>
        <p:spPr>
          <a:xfrm>
            <a:off x="6705600" y="650876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4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8116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Прямоугольник 24"/>
          <p:cNvSpPr/>
          <p:nvPr/>
        </p:nvSpPr>
        <p:spPr>
          <a:xfrm>
            <a:off x="0" y="845429"/>
            <a:ext cx="9144000" cy="12592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323527" y="116632"/>
            <a:ext cx="84249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Капитализация жилой недвижимости в агломерации составляет </a:t>
            </a:r>
            <a:r>
              <a:rPr lang="ru-RU" b="1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1,8 </a:t>
            </a:r>
            <a:r>
              <a:rPr lang="ru-RU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трлн рублей, что в </a:t>
            </a:r>
            <a:r>
              <a:rPr lang="ru-RU" b="1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3,6 </a:t>
            </a:r>
            <a:r>
              <a:rPr lang="ru-RU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раза больше годового ВГП агломерации  </a:t>
            </a:r>
          </a:p>
        </p:txBody>
      </p:sp>
      <p:sp>
        <p:nvSpPr>
          <p:cNvPr id="27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553200" y="6356368"/>
            <a:ext cx="2133600" cy="365125"/>
          </a:xfrm>
        </p:spPr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4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8" name="Номер слайда 4"/>
          <p:cNvSpPr txBox="1">
            <a:spLocks/>
          </p:cNvSpPr>
          <p:nvPr/>
        </p:nvSpPr>
        <p:spPr>
          <a:xfrm>
            <a:off x="6553200" y="635636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4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29" name="Диаграмма 2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39904174"/>
              </p:ext>
            </p:extLst>
          </p:nvPr>
        </p:nvGraphicFramePr>
        <p:xfrm>
          <a:off x="4283968" y="845430"/>
          <a:ext cx="4778310" cy="44470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0" name="TextBox 29"/>
          <p:cNvSpPr txBox="1"/>
          <p:nvPr/>
        </p:nvSpPr>
        <p:spPr>
          <a:xfrm>
            <a:off x="539554" y="6237009"/>
            <a:ext cx="79208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* Оценка проведена на базе показателя </a:t>
            </a:r>
            <a:r>
              <a:rPr lang="ru-RU" sz="9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осстата  «Объем социальных выплат и налогооблагаемых денежных доходов населения в среднем на 1 жителя муниципального </a:t>
            </a:r>
            <a:r>
              <a:rPr lang="ru-RU" sz="9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айона» </a:t>
            </a:r>
            <a:endParaRPr lang="ru-RU" sz="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31" name="Диаграмма 3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69968645"/>
              </p:ext>
            </p:extLst>
          </p:nvPr>
        </p:nvGraphicFramePr>
        <p:xfrm>
          <a:off x="179516" y="876040"/>
          <a:ext cx="4005173" cy="35610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2" name="Диаграмма 3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77947172"/>
              </p:ext>
            </p:extLst>
          </p:nvPr>
        </p:nvGraphicFramePr>
        <p:xfrm>
          <a:off x="4" y="4206890"/>
          <a:ext cx="4535995" cy="20159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3" name="TextBox 32"/>
          <p:cNvSpPr txBox="1"/>
          <p:nvPr/>
        </p:nvSpPr>
        <p:spPr>
          <a:xfrm>
            <a:off x="4599698" y="5067466"/>
            <a:ext cx="396044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4F81B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ступность жилья в ядре агломерации выше, чем на периферии. В целом доступность жилья в Краснодарской агломерации самая высокая в России, согласно критериям ООН-</a:t>
            </a:r>
            <a:r>
              <a:rPr lang="ru-RU" sz="1400" b="1" dirty="0" err="1" smtClean="0">
                <a:solidFill>
                  <a:srgbClr val="4F81B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битат</a:t>
            </a:r>
            <a:r>
              <a:rPr lang="ru-RU" sz="1400" b="1" dirty="0" smtClean="0">
                <a:solidFill>
                  <a:srgbClr val="4F81B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lang="ru-RU" sz="1400" b="1" dirty="0">
              <a:solidFill>
                <a:srgbClr val="4F81BD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88726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Picture 2" descr="C:\gis\map_jpg\Краснодар_цена1.jpe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7"/>
          <a:stretch/>
        </p:blipFill>
        <p:spPr bwMode="auto">
          <a:xfrm>
            <a:off x="133674" y="1066099"/>
            <a:ext cx="7246638" cy="5492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0" y="0"/>
            <a:ext cx="9144000" cy="98072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77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4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23528" y="188640"/>
            <a:ext cx="84249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фференциация цен на жилье в Краснодарской агломерации </a:t>
            </a: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5" name="Номер слайда 4"/>
          <p:cNvSpPr txBox="1">
            <a:spLocks/>
          </p:cNvSpPr>
          <p:nvPr/>
        </p:nvSpPr>
        <p:spPr>
          <a:xfrm>
            <a:off x="6553200" y="635636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4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16" name="Диаграмма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55518799"/>
              </p:ext>
            </p:extLst>
          </p:nvPr>
        </p:nvGraphicFramePr>
        <p:xfrm>
          <a:off x="5436096" y="1052736"/>
          <a:ext cx="3240360" cy="33106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558404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0"/>
            <a:ext cx="9144000" cy="98072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4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Заголовок 1"/>
          <p:cNvSpPr txBox="1">
            <a:spLocks/>
          </p:cNvSpPr>
          <p:nvPr/>
        </p:nvSpPr>
        <p:spPr>
          <a:xfrm>
            <a:off x="0" y="101314"/>
            <a:ext cx="8892480" cy="7780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750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8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Качество планировки территории (плотность жилой застройки, плотность улично-дорожной сети, процент </a:t>
            </a:r>
            <a:r>
              <a:rPr lang="ru-RU" sz="1800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застроенности</a:t>
            </a:r>
            <a:r>
              <a:rPr lang="ru-RU" sz="18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жилой территории) дифференцировано в ядре и на периферии агломерации и определяет рыночную ценность застройки </a:t>
            </a:r>
          </a:p>
          <a:p>
            <a:r>
              <a:rPr lang="ru-RU" sz="18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*</a:t>
            </a:r>
            <a:endParaRPr lang="ru-RU" sz="18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3" name="Диаграмма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99245414"/>
              </p:ext>
            </p:extLst>
          </p:nvPr>
        </p:nvGraphicFramePr>
        <p:xfrm>
          <a:off x="107504" y="980728"/>
          <a:ext cx="4320480" cy="2520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4" name="Диаграмма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58022531"/>
              </p:ext>
            </p:extLst>
          </p:nvPr>
        </p:nvGraphicFramePr>
        <p:xfrm>
          <a:off x="4540102" y="980728"/>
          <a:ext cx="4496394" cy="2520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8" name="Диаграмма 1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58521836"/>
              </p:ext>
            </p:extLst>
          </p:nvPr>
        </p:nvGraphicFramePr>
        <p:xfrm>
          <a:off x="179513" y="3789040"/>
          <a:ext cx="4536504" cy="2520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9" name="Диаграмма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55302493"/>
              </p:ext>
            </p:extLst>
          </p:nvPr>
        </p:nvGraphicFramePr>
        <p:xfrm>
          <a:off x="4499996" y="3645026"/>
          <a:ext cx="4644009" cy="26590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411334" y="6381328"/>
            <a:ext cx="77768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*Для Краснодарской и Нижегородской агломерации индикаторы даны по направлению с наибольшими площадью и плотностью жилой застройки.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881685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251520" y="116634"/>
            <a:ext cx="87849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3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ИНСТИТУТ ЭКОНОМИКИ ГОРОДА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251520" y="755231"/>
            <a:ext cx="424847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нд «ИЭГ</a:t>
            </a: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1200" dirty="0">
                <a:solidFill>
                  <a:schemeClr val="bg1"/>
                </a:solidFill>
              </a:rPr>
              <a:t>—</a:t>
            </a: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коммерческая негосударственная организация, ведет деятельность по разработке социально-экономических предложений с 1995 года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4644012" y="755231"/>
            <a:ext cx="417646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ОО «ИЭГ</a:t>
            </a: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1200" dirty="0">
                <a:solidFill>
                  <a:schemeClr val="bg1"/>
                </a:solidFill>
              </a:rPr>
              <a:t>—</a:t>
            </a: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зация для работы над проектами государственных и коммерческих заказчиков, ведет деятельность с 2003 года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4802702" y="2798298"/>
            <a:ext cx="4010744" cy="127158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/>
            <a:endParaRPr lang="ru-RU" dirty="0" smtClean="0">
              <a:solidFill>
                <a:prstClr val="white"/>
              </a:solidFill>
            </a:endParaRPr>
          </a:p>
          <a:p>
            <a:pPr defTabSz="914400"/>
            <a:endParaRPr lang="ru-RU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defTabSz="914400"/>
            <a:r>
              <a:rPr lang="en-US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_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формы, концепции, программы</a:t>
            </a:r>
          </a:p>
          <a:p>
            <a:pPr defTabSz="914400"/>
            <a:r>
              <a:rPr lang="en-US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_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онная деятельность </a:t>
            </a:r>
            <a:br>
              <a:rPr lang="ru-RU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_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курсы и проекты ГЧП </a:t>
            </a:r>
            <a:br>
              <a:rPr lang="ru-RU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_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городов и регионов</a:t>
            </a:r>
          </a:p>
          <a:p>
            <a:pPr defTabSz="914400"/>
            <a:r>
              <a:rPr lang="ru-RU" dirty="0" smtClean="0">
                <a:solidFill>
                  <a:prstClr val="white"/>
                </a:solidFill>
              </a:rPr>
              <a:t> </a:t>
            </a:r>
            <a:r>
              <a:rPr lang="ru-RU" dirty="0">
                <a:solidFill>
                  <a:prstClr val="white"/>
                </a:solidFill>
              </a:rPr>
              <a:t/>
            </a:r>
            <a:br>
              <a:rPr lang="ru-RU" dirty="0">
                <a:solidFill>
                  <a:prstClr val="white"/>
                </a:solidFill>
              </a:rPr>
            </a:b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368775" y="4186515"/>
            <a:ext cx="3483146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нд «ИЭГ» 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сколько лет подряд </a:t>
            </a:r>
            <a:b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ходит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ТОП-50 лучших независимых 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следовательских центров мирового рейтинга </a:t>
            </a:r>
            <a:r>
              <a:rPr lang="ru-RU" sz="14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obal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ink Tank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ex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вух категориях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Социальная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итика и Ведущие центры Центральной и Восточной Европы </a:t>
            </a:r>
            <a:b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14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94570" y="1966255"/>
            <a:ext cx="391939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тие в 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работке более 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0 законодательных 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ых 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рмативно-правовых 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ов, 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ключая</a:t>
            </a:r>
            <a:endParaRPr lang="ru-RU" sz="1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179255" y="2798298"/>
            <a:ext cx="3934711" cy="1271583"/>
          </a:xfrm>
          <a:prstGeom prst="rect">
            <a:avLst/>
          </a:prstGeom>
          <a:solidFill>
            <a:srgbClr val="E59C0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/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_ </a:t>
            </a: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адостроительный кодекс РФ </a:t>
            </a:r>
            <a:b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_ </a:t>
            </a: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илищный кодекс РФ </a:t>
            </a:r>
            <a:b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_ </a:t>
            </a: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14-ФЗ о долевом строительстве </a:t>
            </a:r>
            <a:b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_ </a:t>
            </a: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он об ипотечных ценных бумагах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4743004" y="1968506"/>
            <a:ext cx="407044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ы по направлениям жилищного строительства, ЖКХ, муниципального развития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4932044" y="4381500"/>
            <a:ext cx="360040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ффективные внедренные решения, учитывающие юридические и экономические аспекты и основанные на многолетнем опыте проведения прикладных исследований</a:t>
            </a:r>
          </a:p>
        </p:txBody>
      </p:sp>
      <p:sp>
        <p:nvSpPr>
          <p:cNvPr id="19" name="Shape 242"/>
          <p:cNvSpPr/>
          <p:nvPr/>
        </p:nvSpPr>
        <p:spPr>
          <a:xfrm>
            <a:off x="4156900" y="3059300"/>
            <a:ext cx="622049" cy="781007"/>
          </a:xfrm>
          <a:custGeom>
            <a:avLst/>
            <a:gdLst/>
            <a:ahLst/>
            <a:cxnLst/>
            <a:rect l="0" t="0" r="0" b="0"/>
            <a:pathLst>
              <a:path w="15290" h="16120" extrusionOk="0">
                <a:moveTo>
                  <a:pt x="7645" y="1"/>
                </a:moveTo>
                <a:lnTo>
                  <a:pt x="7303" y="25"/>
                </a:lnTo>
                <a:lnTo>
                  <a:pt x="7010" y="98"/>
                </a:lnTo>
                <a:lnTo>
                  <a:pt x="6766" y="172"/>
                </a:lnTo>
                <a:lnTo>
                  <a:pt x="6546" y="294"/>
                </a:lnTo>
                <a:lnTo>
                  <a:pt x="6351" y="391"/>
                </a:lnTo>
                <a:lnTo>
                  <a:pt x="6204" y="538"/>
                </a:lnTo>
                <a:lnTo>
                  <a:pt x="6058" y="660"/>
                </a:lnTo>
                <a:lnTo>
                  <a:pt x="5960" y="782"/>
                </a:lnTo>
                <a:lnTo>
                  <a:pt x="5569" y="856"/>
                </a:lnTo>
                <a:lnTo>
                  <a:pt x="5203" y="978"/>
                </a:lnTo>
                <a:lnTo>
                  <a:pt x="4885" y="1149"/>
                </a:lnTo>
                <a:lnTo>
                  <a:pt x="4617" y="1320"/>
                </a:lnTo>
                <a:lnTo>
                  <a:pt x="4372" y="1539"/>
                </a:lnTo>
                <a:lnTo>
                  <a:pt x="4177" y="1759"/>
                </a:lnTo>
                <a:lnTo>
                  <a:pt x="4030" y="2028"/>
                </a:lnTo>
                <a:lnTo>
                  <a:pt x="3908" y="2296"/>
                </a:lnTo>
                <a:lnTo>
                  <a:pt x="3811" y="2565"/>
                </a:lnTo>
                <a:lnTo>
                  <a:pt x="3737" y="2834"/>
                </a:lnTo>
                <a:lnTo>
                  <a:pt x="3689" y="3127"/>
                </a:lnTo>
                <a:lnTo>
                  <a:pt x="3640" y="3420"/>
                </a:lnTo>
                <a:lnTo>
                  <a:pt x="3640" y="3713"/>
                </a:lnTo>
                <a:lnTo>
                  <a:pt x="3640" y="3982"/>
                </a:lnTo>
                <a:lnTo>
                  <a:pt x="3689" y="4495"/>
                </a:lnTo>
                <a:lnTo>
                  <a:pt x="3689" y="4519"/>
                </a:lnTo>
                <a:lnTo>
                  <a:pt x="3566" y="4568"/>
                </a:lnTo>
                <a:lnTo>
                  <a:pt x="3469" y="4666"/>
                </a:lnTo>
                <a:lnTo>
                  <a:pt x="3395" y="4812"/>
                </a:lnTo>
                <a:lnTo>
                  <a:pt x="3322" y="4983"/>
                </a:lnTo>
                <a:lnTo>
                  <a:pt x="3273" y="5178"/>
                </a:lnTo>
                <a:lnTo>
                  <a:pt x="3249" y="5398"/>
                </a:lnTo>
                <a:lnTo>
                  <a:pt x="3224" y="5642"/>
                </a:lnTo>
                <a:lnTo>
                  <a:pt x="3249" y="5887"/>
                </a:lnTo>
                <a:lnTo>
                  <a:pt x="3298" y="6155"/>
                </a:lnTo>
                <a:lnTo>
                  <a:pt x="3347" y="6400"/>
                </a:lnTo>
                <a:lnTo>
                  <a:pt x="3444" y="6619"/>
                </a:lnTo>
                <a:lnTo>
                  <a:pt x="3542" y="6790"/>
                </a:lnTo>
                <a:lnTo>
                  <a:pt x="3640" y="6961"/>
                </a:lnTo>
                <a:lnTo>
                  <a:pt x="3762" y="7059"/>
                </a:lnTo>
                <a:lnTo>
                  <a:pt x="3884" y="7132"/>
                </a:lnTo>
                <a:lnTo>
                  <a:pt x="4030" y="7132"/>
                </a:lnTo>
                <a:lnTo>
                  <a:pt x="4104" y="7108"/>
                </a:lnTo>
                <a:lnTo>
                  <a:pt x="4275" y="7523"/>
                </a:lnTo>
                <a:lnTo>
                  <a:pt x="4494" y="7889"/>
                </a:lnTo>
                <a:lnTo>
                  <a:pt x="4714" y="8256"/>
                </a:lnTo>
                <a:lnTo>
                  <a:pt x="4983" y="8598"/>
                </a:lnTo>
                <a:lnTo>
                  <a:pt x="5252" y="8891"/>
                </a:lnTo>
                <a:lnTo>
                  <a:pt x="5545" y="9159"/>
                </a:lnTo>
                <a:lnTo>
                  <a:pt x="5862" y="9404"/>
                </a:lnTo>
                <a:lnTo>
                  <a:pt x="6180" y="9623"/>
                </a:lnTo>
                <a:lnTo>
                  <a:pt x="6180" y="10698"/>
                </a:lnTo>
                <a:lnTo>
                  <a:pt x="5667" y="10747"/>
                </a:lnTo>
                <a:lnTo>
                  <a:pt x="5081" y="10845"/>
                </a:lnTo>
                <a:lnTo>
                  <a:pt x="4519" y="10967"/>
                </a:lnTo>
                <a:lnTo>
                  <a:pt x="3957" y="11089"/>
                </a:lnTo>
                <a:lnTo>
                  <a:pt x="3420" y="11260"/>
                </a:lnTo>
                <a:lnTo>
                  <a:pt x="2931" y="11455"/>
                </a:lnTo>
                <a:lnTo>
                  <a:pt x="2467" y="11675"/>
                </a:lnTo>
                <a:lnTo>
                  <a:pt x="2028" y="11919"/>
                </a:lnTo>
                <a:lnTo>
                  <a:pt x="1637" y="12188"/>
                </a:lnTo>
                <a:lnTo>
                  <a:pt x="1271" y="12456"/>
                </a:lnTo>
                <a:lnTo>
                  <a:pt x="953" y="12774"/>
                </a:lnTo>
                <a:lnTo>
                  <a:pt x="684" y="13116"/>
                </a:lnTo>
                <a:lnTo>
                  <a:pt x="440" y="13458"/>
                </a:lnTo>
                <a:lnTo>
                  <a:pt x="269" y="13849"/>
                </a:lnTo>
                <a:lnTo>
                  <a:pt x="123" y="14239"/>
                </a:lnTo>
                <a:lnTo>
                  <a:pt x="49" y="14679"/>
                </a:lnTo>
                <a:lnTo>
                  <a:pt x="1" y="15119"/>
                </a:lnTo>
                <a:lnTo>
                  <a:pt x="49" y="15167"/>
                </a:lnTo>
                <a:lnTo>
                  <a:pt x="245" y="15265"/>
                </a:lnTo>
                <a:lnTo>
                  <a:pt x="416" y="15338"/>
                </a:lnTo>
                <a:lnTo>
                  <a:pt x="636" y="15436"/>
                </a:lnTo>
                <a:lnTo>
                  <a:pt x="904" y="15534"/>
                </a:lnTo>
                <a:lnTo>
                  <a:pt x="1271" y="15607"/>
                </a:lnTo>
                <a:lnTo>
                  <a:pt x="1710" y="15705"/>
                </a:lnTo>
                <a:lnTo>
                  <a:pt x="2223" y="15802"/>
                </a:lnTo>
                <a:lnTo>
                  <a:pt x="2834" y="15876"/>
                </a:lnTo>
                <a:lnTo>
                  <a:pt x="3566" y="15973"/>
                </a:lnTo>
                <a:lnTo>
                  <a:pt x="4397" y="16022"/>
                </a:lnTo>
                <a:lnTo>
                  <a:pt x="5325" y="16071"/>
                </a:lnTo>
                <a:lnTo>
                  <a:pt x="6399" y="16096"/>
                </a:lnTo>
                <a:lnTo>
                  <a:pt x="7621" y="16120"/>
                </a:lnTo>
                <a:lnTo>
                  <a:pt x="8817" y="16096"/>
                </a:lnTo>
                <a:lnTo>
                  <a:pt x="9892" y="16071"/>
                </a:lnTo>
                <a:lnTo>
                  <a:pt x="10844" y="16022"/>
                </a:lnTo>
                <a:lnTo>
                  <a:pt x="11675" y="15973"/>
                </a:lnTo>
                <a:lnTo>
                  <a:pt x="12408" y="15876"/>
                </a:lnTo>
                <a:lnTo>
                  <a:pt x="13018" y="15802"/>
                </a:lnTo>
                <a:lnTo>
                  <a:pt x="13555" y="15705"/>
                </a:lnTo>
                <a:lnTo>
                  <a:pt x="13995" y="15607"/>
                </a:lnTo>
                <a:lnTo>
                  <a:pt x="14361" y="15534"/>
                </a:lnTo>
                <a:lnTo>
                  <a:pt x="14654" y="15436"/>
                </a:lnTo>
                <a:lnTo>
                  <a:pt x="14874" y="15338"/>
                </a:lnTo>
                <a:lnTo>
                  <a:pt x="15045" y="15265"/>
                </a:lnTo>
                <a:lnTo>
                  <a:pt x="15216" y="15167"/>
                </a:lnTo>
                <a:lnTo>
                  <a:pt x="15289" y="15119"/>
                </a:lnTo>
                <a:lnTo>
                  <a:pt x="15241" y="14655"/>
                </a:lnTo>
                <a:lnTo>
                  <a:pt x="15167" y="14215"/>
                </a:lnTo>
                <a:lnTo>
                  <a:pt x="15045" y="13800"/>
                </a:lnTo>
                <a:lnTo>
                  <a:pt x="14874" y="13409"/>
                </a:lnTo>
                <a:lnTo>
                  <a:pt x="14630" y="13043"/>
                </a:lnTo>
                <a:lnTo>
                  <a:pt x="14361" y="12701"/>
                </a:lnTo>
                <a:lnTo>
                  <a:pt x="14044" y="12408"/>
                </a:lnTo>
                <a:lnTo>
                  <a:pt x="13678" y="12115"/>
                </a:lnTo>
                <a:lnTo>
                  <a:pt x="13287" y="11846"/>
                </a:lnTo>
                <a:lnTo>
                  <a:pt x="12847" y="11626"/>
                </a:lnTo>
                <a:lnTo>
                  <a:pt x="12359" y="11406"/>
                </a:lnTo>
                <a:lnTo>
                  <a:pt x="11846" y="11235"/>
                </a:lnTo>
                <a:lnTo>
                  <a:pt x="11284" y="11064"/>
                </a:lnTo>
                <a:lnTo>
                  <a:pt x="10698" y="10942"/>
                </a:lnTo>
                <a:lnTo>
                  <a:pt x="10063" y="10820"/>
                </a:lnTo>
                <a:lnTo>
                  <a:pt x="9428" y="10747"/>
                </a:lnTo>
                <a:lnTo>
                  <a:pt x="9110" y="10722"/>
                </a:lnTo>
                <a:lnTo>
                  <a:pt x="9110" y="9623"/>
                </a:lnTo>
                <a:lnTo>
                  <a:pt x="9428" y="9404"/>
                </a:lnTo>
                <a:lnTo>
                  <a:pt x="9745" y="9159"/>
                </a:lnTo>
                <a:lnTo>
                  <a:pt x="10039" y="8891"/>
                </a:lnTo>
                <a:lnTo>
                  <a:pt x="10332" y="8598"/>
                </a:lnTo>
                <a:lnTo>
                  <a:pt x="10576" y="8256"/>
                </a:lnTo>
                <a:lnTo>
                  <a:pt x="10796" y="7889"/>
                </a:lnTo>
                <a:lnTo>
                  <a:pt x="11015" y="7523"/>
                </a:lnTo>
                <a:lnTo>
                  <a:pt x="11186" y="7108"/>
                </a:lnTo>
                <a:lnTo>
                  <a:pt x="11260" y="7132"/>
                </a:lnTo>
                <a:lnTo>
                  <a:pt x="11406" y="7132"/>
                </a:lnTo>
                <a:lnTo>
                  <a:pt x="11528" y="7059"/>
                </a:lnTo>
                <a:lnTo>
                  <a:pt x="11650" y="6961"/>
                </a:lnTo>
                <a:lnTo>
                  <a:pt x="11748" y="6790"/>
                </a:lnTo>
                <a:lnTo>
                  <a:pt x="11846" y="6619"/>
                </a:lnTo>
                <a:lnTo>
                  <a:pt x="11944" y="6400"/>
                </a:lnTo>
                <a:lnTo>
                  <a:pt x="11992" y="6155"/>
                </a:lnTo>
                <a:lnTo>
                  <a:pt x="12041" y="5887"/>
                </a:lnTo>
                <a:lnTo>
                  <a:pt x="12066" y="5642"/>
                </a:lnTo>
                <a:lnTo>
                  <a:pt x="12041" y="5398"/>
                </a:lnTo>
                <a:lnTo>
                  <a:pt x="12017" y="5203"/>
                </a:lnTo>
                <a:lnTo>
                  <a:pt x="11968" y="5007"/>
                </a:lnTo>
                <a:lnTo>
                  <a:pt x="11919" y="4836"/>
                </a:lnTo>
                <a:lnTo>
                  <a:pt x="11846" y="4690"/>
                </a:lnTo>
                <a:lnTo>
                  <a:pt x="11748" y="4592"/>
                </a:lnTo>
                <a:lnTo>
                  <a:pt x="11626" y="4519"/>
                </a:lnTo>
                <a:lnTo>
                  <a:pt x="11699" y="4153"/>
                </a:lnTo>
                <a:lnTo>
                  <a:pt x="11724" y="3811"/>
                </a:lnTo>
                <a:lnTo>
                  <a:pt x="11724" y="3493"/>
                </a:lnTo>
                <a:lnTo>
                  <a:pt x="11724" y="3200"/>
                </a:lnTo>
                <a:lnTo>
                  <a:pt x="11699" y="2907"/>
                </a:lnTo>
                <a:lnTo>
                  <a:pt x="11650" y="2638"/>
                </a:lnTo>
                <a:lnTo>
                  <a:pt x="11577" y="2394"/>
                </a:lnTo>
                <a:lnTo>
                  <a:pt x="11504" y="2150"/>
                </a:lnTo>
                <a:lnTo>
                  <a:pt x="11406" y="1930"/>
                </a:lnTo>
                <a:lnTo>
                  <a:pt x="11309" y="1710"/>
                </a:lnTo>
                <a:lnTo>
                  <a:pt x="11186" y="1515"/>
                </a:lnTo>
                <a:lnTo>
                  <a:pt x="11040" y="1344"/>
                </a:lnTo>
                <a:lnTo>
                  <a:pt x="10893" y="1173"/>
                </a:lnTo>
                <a:lnTo>
                  <a:pt x="10747" y="1026"/>
                </a:lnTo>
                <a:lnTo>
                  <a:pt x="10429" y="758"/>
                </a:lnTo>
                <a:lnTo>
                  <a:pt x="10063" y="562"/>
                </a:lnTo>
                <a:lnTo>
                  <a:pt x="9697" y="367"/>
                </a:lnTo>
                <a:lnTo>
                  <a:pt x="9330" y="245"/>
                </a:lnTo>
                <a:lnTo>
                  <a:pt x="8964" y="147"/>
                </a:lnTo>
                <a:lnTo>
                  <a:pt x="8598" y="74"/>
                </a:lnTo>
                <a:lnTo>
                  <a:pt x="8256" y="25"/>
                </a:lnTo>
                <a:lnTo>
                  <a:pt x="7938" y="1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defTabSz="914400"/>
            <a:endParaRPr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224714" y="6093296"/>
            <a:ext cx="6588732" cy="5283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ts val="1700"/>
              </a:lnSpc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ССИЯ: содействие социально-экономическому</a:t>
            </a:r>
            <a:b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ю 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родов</a:t>
            </a:r>
          </a:p>
        </p:txBody>
      </p:sp>
    </p:spTree>
    <p:extLst>
      <p:ext uri="{BB962C8B-B14F-4D97-AF65-F5344CB8AC3E}">
        <p14:creationId xmlns:p14="http://schemas.microsoft.com/office/powerpoint/2010/main" val="404941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5041961" y="312672"/>
            <a:ext cx="3965562" cy="707354"/>
          </a:xfrm>
        </p:spPr>
        <p:txBody>
          <a:bodyPr anchor="ctr">
            <a:normAutofit fontScale="90000"/>
          </a:bodyPr>
          <a:lstStyle/>
          <a:p>
            <a:r>
              <a:rPr lang="ru-RU" dirty="0" smtClean="0"/>
              <a:t>Лидеры рейтинга 45 агломераций по </a:t>
            </a:r>
            <a:r>
              <a:rPr lang="ru-RU" dirty="0" err="1" smtClean="0"/>
              <a:t>вгп</a:t>
            </a:r>
            <a:r>
              <a:rPr lang="ru-RU" dirty="0" smtClean="0"/>
              <a:t> в 2016 году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B281E-F444-1144-B042-5FE9A7BB944A}" type="slidenum">
              <a:rPr lang="ru-RU" smtClean="0">
                <a:gradFill>
                  <a:gsLst>
                    <a:gs pos="0">
                      <a:srgbClr val="002060"/>
                    </a:gs>
                    <a:gs pos="100000">
                      <a:srgbClr val="5B9BD5">
                        <a:lumMod val="75000"/>
                      </a:srgbClr>
                    </a:gs>
                  </a:gsLst>
                  <a:path path="circle">
                    <a:fillToRect t="100000" r="100000"/>
                  </a:path>
                </a:gradFill>
              </a:rPr>
              <a:pPr/>
              <a:t>5</a:t>
            </a:fld>
            <a:endParaRPr lang="ru-RU" dirty="0">
              <a:gradFill>
                <a:gsLst>
                  <a:gs pos="0">
                    <a:srgbClr val="002060"/>
                  </a:gs>
                  <a:gs pos="100000">
                    <a:srgbClr val="5B9BD5">
                      <a:lumMod val="75000"/>
                    </a:srgbClr>
                  </a:gs>
                </a:gsLst>
                <a:path path="circle">
                  <a:fillToRect t="100000" r="100000"/>
                </a:path>
              </a:gradFill>
            </a:endParaRPr>
          </a:p>
        </p:txBody>
      </p:sp>
      <p:sp>
        <p:nvSpPr>
          <p:cNvPr id="12" name="Текст 8"/>
          <p:cNvSpPr>
            <a:spLocks noGrp="1"/>
          </p:cNvSpPr>
          <p:nvPr>
            <p:ph type="body" sz="half" idx="2"/>
          </p:nvPr>
        </p:nvSpPr>
        <p:spPr>
          <a:xfrm>
            <a:off x="4916997" y="1251016"/>
            <a:ext cx="3886849" cy="2500443"/>
          </a:xfrm>
        </p:spPr>
        <p:txBody>
          <a:bodyPr>
            <a:noAutofit/>
          </a:bodyPr>
          <a:lstStyle/>
          <a:p>
            <a:r>
              <a:rPr lang="ru-RU" sz="2000" dirty="0" smtClean="0"/>
              <a:t>В пятерку лидеров вошли Московская, Санкт-Петербургская, Екатеринбургская, </a:t>
            </a:r>
            <a:r>
              <a:rPr lang="ru-RU" sz="2000" dirty="0" err="1" smtClean="0"/>
              <a:t>Самарско-Тольятинская</a:t>
            </a:r>
            <a:r>
              <a:rPr lang="ru-RU" sz="2000" dirty="0" smtClean="0"/>
              <a:t> и Нижегородская агломерации</a:t>
            </a:r>
          </a:p>
          <a:p>
            <a:r>
              <a:rPr lang="ru-RU" sz="2000" dirty="0" smtClean="0"/>
              <a:t>На территории этих агломераций в совокупности производится более 2</a:t>
            </a:r>
            <a:r>
              <a:rPr lang="en-US" sz="2000" dirty="0" smtClean="0"/>
              <a:t>7</a:t>
            </a:r>
            <a:r>
              <a:rPr lang="ru-RU" sz="2000" dirty="0" smtClean="0"/>
              <a:t>% ВВП</a:t>
            </a:r>
          </a:p>
          <a:p>
            <a:endParaRPr lang="ru-RU" sz="2000" dirty="0" smtClean="0"/>
          </a:p>
          <a:p>
            <a:endParaRPr lang="ru-RU" sz="2000" dirty="0"/>
          </a:p>
        </p:txBody>
      </p:sp>
      <p:graphicFrame>
        <p:nvGraphicFramePr>
          <p:cNvPr id="10" name="Диаграмма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40590864"/>
              </p:ext>
            </p:extLst>
          </p:nvPr>
        </p:nvGraphicFramePr>
        <p:xfrm>
          <a:off x="2771800" y="3645024"/>
          <a:ext cx="6014835" cy="29877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67903587"/>
              </p:ext>
            </p:extLst>
          </p:nvPr>
        </p:nvGraphicFramePr>
        <p:xfrm>
          <a:off x="85162" y="1"/>
          <a:ext cx="4615962" cy="63563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85163" y="76200"/>
            <a:ext cx="4753470" cy="943826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954217" y="1020029"/>
            <a:ext cx="131506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prstClr val="black"/>
                </a:solidFill>
              </a:rPr>
              <a:t>Тройка агломераций с экономикой более 1 трлн руб.</a:t>
            </a:r>
            <a:endParaRPr lang="ru-RU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4391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4445282"/>
            <a:ext cx="9192362" cy="24277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7" r="-565"/>
          <a:stretch/>
        </p:blipFill>
        <p:spPr bwMode="auto">
          <a:xfrm>
            <a:off x="1620000" y="4445277"/>
            <a:ext cx="6372000" cy="24189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761497" y="2132856"/>
            <a:ext cx="799188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ru-RU" sz="32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сква, ул. Тверская, 20, стр. 1</a:t>
            </a:r>
          </a:p>
          <a:p>
            <a:pPr algn="ctr"/>
            <a:r>
              <a:rPr lang="ru-RU" sz="32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л.: </a:t>
            </a:r>
            <a:r>
              <a:rPr lang="en-US" sz="3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7</a:t>
            </a:r>
            <a:r>
              <a:rPr lang="ru-RU" sz="3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495) 363 50 </a:t>
            </a:r>
            <a:r>
              <a:rPr lang="ru-RU" sz="32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7 </a:t>
            </a:r>
          </a:p>
          <a:p>
            <a:pPr algn="ctr"/>
            <a:r>
              <a:rPr lang="ru-RU" sz="3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lbox@urbaneconomics.ru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2813226" y="6402532"/>
            <a:ext cx="388843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urbaneconomics.ru</a:t>
            </a:r>
            <a:endParaRPr lang="ru-RU" sz="24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2" name="Группа 11"/>
          <p:cNvGrpSpPr/>
          <p:nvPr/>
        </p:nvGrpSpPr>
        <p:grpSpPr>
          <a:xfrm>
            <a:off x="2915816" y="116639"/>
            <a:ext cx="6120680" cy="1464945"/>
            <a:chOff x="2915816" y="116632"/>
            <a:chExt cx="6120680" cy="1464945"/>
          </a:xfrm>
        </p:grpSpPr>
        <p:pic>
          <p:nvPicPr>
            <p:cNvPr id="13" name="Picture 5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27984" y="116632"/>
              <a:ext cx="3672408" cy="14649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" name="TextBox 13"/>
            <p:cNvSpPr txBox="1"/>
            <p:nvPr/>
          </p:nvSpPr>
          <p:spPr>
            <a:xfrm>
              <a:off x="2915816" y="510549"/>
              <a:ext cx="612068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3600" b="1" dirty="0" smtClean="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АШИ КОНТАКТЫ</a:t>
              </a:r>
              <a:endParaRPr lang="ru-RU" sz="24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9" name="Picture 2" descr="C:\Users\bychkov\Desktop\Институт экономики города\Бланки\презентация\Facebook-App-Icona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10" y="4077072"/>
            <a:ext cx="279805" cy="2798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" descr="C:\Users\bychkov\Desktop\Институт экономики города\Бланки\презентация\Twitter-Button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0101" y="4077072"/>
            <a:ext cx="279806" cy="279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https://rutcriado.files.wordpress.com/2013/07/youtube-logo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9903" y="4032206"/>
            <a:ext cx="511904" cy="3619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86878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Объект 10"/>
          <p:cNvSpPr>
            <a:spLocks noGrp="1"/>
          </p:cNvSpPr>
          <p:nvPr>
            <p:ph idx="1"/>
          </p:nvPr>
        </p:nvSpPr>
        <p:spPr>
          <a:xfrm>
            <a:off x="224145" y="1706020"/>
            <a:ext cx="3843616" cy="487362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2280" dirty="0" smtClean="0"/>
              <a:t>Последние места среди исследованных </a:t>
            </a:r>
            <a:r>
              <a:rPr lang="ru-RU" sz="2280" dirty="0"/>
              <a:t>агломераций заняли </a:t>
            </a:r>
            <a:r>
              <a:rPr lang="ru-RU" sz="2280" dirty="0" err="1" smtClean="0"/>
              <a:t>Стерлитамакская</a:t>
            </a:r>
            <a:r>
              <a:rPr lang="ru-RU" sz="2280" dirty="0" smtClean="0"/>
              <a:t>, </a:t>
            </a:r>
            <a:r>
              <a:rPr lang="ru-RU" sz="2280" dirty="0" err="1" smtClean="0"/>
              <a:t>Орская</a:t>
            </a:r>
            <a:r>
              <a:rPr lang="ru-RU" sz="2280" dirty="0"/>
              <a:t> и Владикавказская </a:t>
            </a:r>
            <a:r>
              <a:rPr lang="ru-RU" sz="2280" dirty="0" smtClean="0"/>
              <a:t>агломерации</a:t>
            </a:r>
          </a:p>
          <a:p>
            <a:pPr marL="0" indent="0">
              <a:buNone/>
            </a:pPr>
            <a:r>
              <a:rPr lang="ru-RU" sz="2280" dirty="0" smtClean="0"/>
              <a:t>ВГП самой маленькой агломерации (</a:t>
            </a:r>
            <a:r>
              <a:rPr lang="ru-RU" sz="2280" dirty="0" err="1" smtClean="0"/>
              <a:t>Стерлитамакской</a:t>
            </a:r>
            <a:r>
              <a:rPr lang="ru-RU" sz="2280" dirty="0" smtClean="0"/>
              <a:t>) </a:t>
            </a:r>
            <a:r>
              <a:rPr lang="ru-RU" sz="2280" b="1" dirty="0" smtClean="0"/>
              <a:t>в 194 раза </a:t>
            </a:r>
            <a:r>
              <a:rPr lang="ru-RU" sz="2280" dirty="0" smtClean="0"/>
              <a:t>меньше ВГП самой крупной (Московской)</a:t>
            </a:r>
            <a:endParaRPr lang="ru-RU" sz="2280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B281E-F444-1144-B042-5FE9A7BB944A}" type="slidenum">
              <a:rPr lang="ru-RU" smtClean="0">
                <a:gradFill>
                  <a:gsLst>
                    <a:gs pos="0">
                      <a:srgbClr val="002060"/>
                    </a:gs>
                    <a:gs pos="100000">
                      <a:srgbClr val="5B9BD5">
                        <a:lumMod val="75000"/>
                      </a:srgbClr>
                    </a:gs>
                  </a:gsLst>
                  <a:path path="circle">
                    <a:fillToRect t="100000" r="100000"/>
                  </a:path>
                </a:gradFill>
              </a:rPr>
              <a:pPr/>
              <a:t>6</a:t>
            </a:fld>
            <a:endParaRPr lang="ru-RU">
              <a:gradFill>
                <a:gsLst>
                  <a:gs pos="0">
                    <a:srgbClr val="002060"/>
                  </a:gs>
                  <a:gs pos="100000">
                    <a:srgbClr val="5B9BD5">
                      <a:lumMod val="75000"/>
                    </a:srgbClr>
                  </a:gs>
                </a:gsLst>
                <a:path path="circle">
                  <a:fillToRect t="100000" r="100000"/>
                </a:path>
              </a:gradFill>
            </a:endParaRPr>
          </a:p>
        </p:txBody>
      </p:sp>
      <p:sp>
        <p:nvSpPr>
          <p:cNvPr id="13" name="Заголовок 7"/>
          <p:cNvSpPr>
            <a:spLocks noGrp="1"/>
          </p:cNvSpPr>
          <p:nvPr>
            <p:ph type="title"/>
          </p:nvPr>
        </p:nvSpPr>
        <p:spPr>
          <a:xfrm>
            <a:off x="346815" y="722686"/>
            <a:ext cx="3720942" cy="873630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Аутсайдеры </a:t>
            </a:r>
            <a:r>
              <a:rPr lang="ru-RU" dirty="0"/>
              <a:t>рейтинга </a:t>
            </a:r>
            <a:r>
              <a:rPr lang="ru-RU" dirty="0" smtClean="0"/>
              <a:t>45 </a:t>
            </a:r>
            <a:r>
              <a:rPr lang="ru-RU" dirty="0"/>
              <a:t>агломераций по </a:t>
            </a:r>
            <a:r>
              <a:rPr lang="ru-RU" dirty="0" err="1"/>
              <a:t>вгп</a:t>
            </a:r>
            <a:r>
              <a:rPr lang="ru-RU" dirty="0"/>
              <a:t> в 2016 году</a:t>
            </a:r>
          </a:p>
        </p:txBody>
      </p:sp>
      <p:graphicFrame>
        <p:nvGraphicFramePr>
          <p:cNvPr id="10" name="Диаграмма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62633129"/>
              </p:ext>
            </p:extLst>
          </p:nvPr>
        </p:nvGraphicFramePr>
        <p:xfrm>
          <a:off x="3649323" y="-127591"/>
          <a:ext cx="5617263" cy="64839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7325302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4519090" y="265799"/>
            <a:ext cx="4392109" cy="1084024"/>
          </a:xfrm>
        </p:spPr>
        <p:txBody>
          <a:bodyPr anchor="ctr">
            <a:normAutofit fontScale="90000"/>
          </a:bodyPr>
          <a:lstStyle/>
          <a:p>
            <a:r>
              <a:rPr lang="ru-RU" dirty="0" smtClean="0"/>
              <a:t>ВГП на душу населения в 45 агломерациях в 2016 году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half" idx="2"/>
          </p:nvPr>
        </p:nvSpPr>
        <p:spPr>
          <a:xfrm>
            <a:off x="412033" y="3912504"/>
            <a:ext cx="4220308" cy="2118091"/>
          </a:xfrm>
        </p:spPr>
        <p:txBody>
          <a:bodyPr>
            <a:normAutofit/>
          </a:bodyPr>
          <a:lstStyle/>
          <a:p>
            <a:r>
              <a:rPr lang="ru-RU" sz="2280" dirty="0" err="1" smtClean="0"/>
              <a:t>Подушевой</a:t>
            </a:r>
            <a:r>
              <a:rPr lang="ru-RU" sz="2280" dirty="0" smtClean="0"/>
              <a:t> ВГП агломераций группы А значительно превосходит аналогичный показатель для других групп агломераций и России в целом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72F9E2-A681-4523-A1E3-B13174320180}" type="slidenum">
              <a:rPr lang="ru-RU" smtClean="0">
                <a:gradFill>
                  <a:gsLst>
                    <a:gs pos="0">
                      <a:srgbClr val="002060"/>
                    </a:gs>
                    <a:gs pos="100000">
                      <a:srgbClr val="5B9BD5">
                        <a:lumMod val="75000"/>
                      </a:srgbClr>
                    </a:gs>
                  </a:gsLst>
                  <a:path path="circle">
                    <a:fillToRect t="100000" r="100000"/>
                  </a:path>
                </a:gradFill>
              </a:rPr>
              <a:pPr/>
              <a:t>7</a:t>
            </a:fld>
            <a:endParaRPr lang="ru-RU">
              <a:gradFill>
                <a:gsLst>
                  <a:gs pos="0">
                    <a:srgbClr val="002060"/>
                  </a:gs>
                  <a:gs pos="100000">
                    <a:srgbClr val="5B9BD5">
                      <a:lumMod val="75000"/>
                    </a:srgbClr>
                  </a:gs>
                </a:gsLst>
                <a:path path="circle">
                  <a:fillToRect t="100000" r="100000"/>
                </a:path>
              </a:gradFill>
            </a:endParaRPr>
          </a:p>
        </p:txBody>
      </p:sp>
      <p:graphicFrame>
        <p:nvGraphicFramePr>
          <p:cNvPr id="11" name="Диаграмма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85815605"/>
              </p:ext>
            </p:extLst>
          </p:nvPr>
        </p:nvGraphicFramePr>
        <p:xfrm>
          <a:off x="298782" y="1004817"/>
          <a:ext cx="4220308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Диаграмма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87176558"/>
              </p:ext>
            </p:extLst>
          </p:nvPr>
        </p:nvGraphicFramePr>
        <p:xfrm>
          <a:off x="4519094" y="3287394"/>
          <a:ext cx="4414517" cy="2975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Текст 9"/>
          <p:cNvSpPr txBox="1">
            <a:spLocks/>
          </p:cNvSpPr>
          <p:nvPr/>
        </p:nvSpPr>
        <p:spPr>
          <a:xfrm>
            <a:off x="4632341" y="1349827"/>
            <a:ext cx="4301266" cy="2234949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0" indent="0" algn="l" defTabSz="742950" rtl="0" eaLnBrk="1" latinLnBrk="0" hangingPunct="1">
              <a:lnSpc>
                <a:spcPct val="90000"/>
              </a:lnSpc>
              <a:spcBef>
                <a:spcPts val="813"/>
              </a:spcBef>
              <a:buFont typeface="Arial"/>
              <a:buNone/>
              <a:defRPr sz="13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37147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None/>
              <a:defRPr sz="1138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2pPr>
            <a:lvl3pPr marL="74295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None/>
              <a:defRPr sz="975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3pPr>
            <a:lvl4pPr marL="111442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None/>
              <a:defRPr sz="813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4pPr>
            <a:lvl5pPr marL="148590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None/>
              <a:defRPr sz="813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5pPr>
            <a:lvl6pPr marL="185737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None/>
              <a:defRPr sz="8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None/>
              <a:defRPr sz="8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0032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None/>
              <a:defRPr sz="8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71800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/>
              <a:buNone/>
              <a:defRPr sz="8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28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Помимо Московской и Санкт-Петербургской, лишь для нескольких малых агломераций с ресурсной экономикой характерны объемы </a:t>
            </a:r>
            <a:r>
              <a:rPr lang="ru-RU" sz="2280" dirty="0" err="1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подушевого</a:t>
            </a:r>
            <a:r>
              <a:rPr lang="ru-RU" sz="228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 ВГП, превышающие средний по России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247338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16619" y="80920"/>
            <a:ext cx="4729975" cy="1187450"/>
          </a:xfrm>
        </p:spPr>
        <p:txBody>
          <a:bodyPr anchor="ctr">
            <a:normAutofit/>
          </a:bodyPr>
          <a:lstStyle/>
          <a:p>
            <a:r>
              <a:rPr lang="ru-RU" sz="2400" dirty="0" smtClean="0"/>
              <a:t>Агломерационные эффекты и </a:t>
            </a:r>
            <a:r>
              <a:rPr lang="ru-RU" sz="2400" dirty="0" err="1" smtClean="0"/>
              <a:t>проциклическое</a:t>
            </a:r>
            <a:r>
              <a:rPr lang="ru-RU" sz="2400" dirty="0" smtClean="0"/>
              <a:t> развитие</a:t>
            </a:r>
            <a:endParaRPr lang="ru-RU" sz="2400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B281E-F444-1144-B042-5FE9A7BB944A}" type="slidenum">
              <a:rPr lang="ru-RU" smtClean="0">
                <a:gradFill>
                  <a:gsLst>
                    <a:gs pos="0">
                      <a:srgbClr val="002060"/>
                    </a:gs>
                    <a:gs pos="100000">
                      <a:srgbClr val="5B9BD5">
                        <a:lumMod val="75000"/>
                      </a:srgbClr>
                    </a:gs>
                  </a:gsLst>
                  <a:path path="circle">
                    <a:fillToRect t="100000" r="100000"/>
                  </a:path>
                </a:gradFill>
              </a:rPr>
              <a:pPr/>
              <a:t>8</a:t>
            </a:fld>
            <a:endParaRPr lang="ru-RU">
              <a:gradFill>
                <a:gsLst>
                  <a:gs pos="0">
                    <a:srgbClr val="002060"/>
                  </a:gs>
                  <a:gs pos="100000">
                    <a:srgbClr val="5B9BD5">
                      <a:lumMod val="75000"/>
                    </a:srgbClr>
                  </a:gs>
                </a:gsLst>
                <a:path path="circle">
                  <a:fillToRect t="100000" r="100000"/>
                </a:path>
              </a:gradFill>
            </a:endParaRPr>
          </a:p>
        </p:txBody>
      </p:sp>
      <p:sp>
        <p:nvSpPr>
          <p:cNvPr id="8" name="Текст 9"/>
          <p:cNvSpPr>
            <a:spLocks noGrp="1"/>
          </p:cNvSpPr>
          <p:nvPr>
            <p:ph type="body" sz="half" idx="2"/>
          </p:nvPr>
        </p:nvSpPr>
        <p:spPr>
          <a:xfrm>
            <a:off x="251520" y="1240203"/>
            <a:ext cx="4499128" cy="2116789"/>
          </a:xfrm>
        </p:spPr>
        <p:txBody>
          <a:bodyPr>
            <a:noAutofit/>
          </a:bodyPr>
          <a:lstStyle/>
          <a:p>
            <a:r>
              <a:rPr lang="ru-RU" sz="1800" dirty="0" smtClean="0"/>
              <a:t>В 2013-2016 гг. реальный ВГП агломераций сокращался в два раза быстрее, чем ВВП: 2,3% в год против 1,1% в год</a:t>
            </a:r>
            <a:endParaRPr lang="ru-RU" sz="1800" dirty="0"/>
          </a:p>
          <a:p>
            <a:r>
              <a:rPr lang="ru-RU" sz="1800" dirty="0" smtClean="0"/>
              <a:t>Рост реального ВГП показали только </a:t>
            </a:r>
            <a:r>
              <a:rPr lang="ru-RU" sz="1800" dirty="0" err="1" smtClean="0"/>
              <a:t>Тульско-Новомосковская</a:t>
            </a:r>
            <a:r>
              <a:rPr lang="ru-RU" sz="1800" dirty="0" smtClean="0"/>
              <a:t>, Южно-Сахалинская, Санкт-Петербургская и Махачкалинская агломерации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8036696" y="5376765"/>
            <a:ext cx="95731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зменение реального ВВП – 98%</a:t>
            </a:r>
            <a:endParaRPr lang="ru-RU" sz="1200" dirty="0">
              <a:solidFill>
                <a:srgbClr val="FF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13" name="Диаграмма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47397602"/>
              </p:ext>
            </p:extLst>
          </p:nvPr>
        </p:nvGraphicFramePr>
        <p:xfrm>
          <a:off x="4766103" y="0"/>
          <a:ext cx="3888522" cy="66405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Диаграмма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99872115"/>
              </p:ext>
            </p:extLst>
          </p:nvPr>
        </p:nvGraphicFramePr>
        <p:xfrm>
          <a:off x="107504" y="3429000"/>
          <a:ext cx="4936779" cy="31683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039154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72F9E2-A681-4523-A1E3-B13174320180}" type="slidenum">
              <a:rPr lang="ru-RU" smtClean="0">
                <a:gradFill>
                  <a:gsLst>
                    <a:gs pos="0">
                      <a:srgbClr val="002060"/>
                    </a:gs>
                    <a:gs pos="100000">
                      <a:srgbClr val="5B9BD5">
                        <a:lumMod val="75000"/>
                      </a:srgbClr>
                    </a:gs>
                  </a:gsLst>
                  <a:path path="circle">
                    <a:fillToRect t="100000" r="100000"/>
                  </a:path>
                </a:gradFill>
              </a:rPr>
              <a:pPr/>
              <a:t>9</a:t>
            </a:fld>
            <a:endParaRPr lang="ru-RU">
              <a:gradFill>
                <a:gsLst>
                  <a:gs pos="0">
                    <a:srgbClr val="002060"/>
                  </a:gs>
                  <a:gs pos="100000">
                    <a:srgbClr val="5B9BD5">
                      <a:lumMod val="75000"/>
                    </a:srgbClr>
                  </a:gs>
                </a:gsLst>
                <a:path path="circle">
                  <a:fillToRect t="100000" r="100000"/>
                </a:path>
              </a:gradFill>
            </a:endParaRP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xmlns="" id="{BDF34C4B-5496-42C0-906E-09AF3FFAAAA2}"/>
              </a:ext>
            </a:extLst>
          </p:cNvPr>
          <p:cNvSpPr txBox="1">
            <a:spLocks/>
          </p:cNvSpPr>
          <p:nvPr/>
        </p:nvSpPr>
        <p:spPr>
          <a:xfrm>
            <a:off x="628654" y="657922"/>
            <a:ext cx="8118217" cy="1033200"/>
          </a:xfrm>
          <a:prstGeom prst="rect">
            <a:avLst/>
          </a:prstGeom>
        </p:spPr>
        <p:txBody>
          <a:bodyPr>
            <a:normAutofit fontScale="90000" lnSpcReduction="20000"/>
          </a:bodyPr>
          <a:lstStyle>
            <a:lvl1pPr algn="l" defTabSz="74295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25" b="1" i="0" kern="1200" cap="all" baseline="0">
                <a:gradFill flip="none" rotWithShape="1">
                  <a:gsLst>
                    <a:gs pos="0">
                      <a:schemeClr val="accent1">
                        <a:lumMod val="50000"/>
                      </a:schemeClr>
                    </a:gs>
                    <a:gs pos="100000">
                      <a:schemeClr val="accent1">
                        <a:lumMod val="75000"/>
                      </a:schemeClr>
                    </a:gs>
                  </a:gsLst>
                  <a:path path="circle">
                    <a:fillToRect t="100000" r="100000"/>
                  </a:path>
                  <a:tileRect l="-100000" b="-100000"/>
                </a:gra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ru-RU" dirty="0">
                <a:gradFill flip="none" rotWithShape="1">
                  <a:gsLst>
                    <a:gs pos="0">
                      <a:srgbClr val="5B9BD5">
                        <a:lumMod val="50000"/>
                      </a:srgbClr>
                    </a:gs>
                    <a:gs pos="100000">
                      <a:srgbClr val="5B9BD5">
                        <a:lumMod val="75000"/>
                      </a:srgbClr>
                    </a:gs>
                  </a:gsLst>
                  <a:path path="circle">
                    <a:fillToRect t="100000" r="100000"/>
                  </a:path>
                  <a:tileRect l="-100000" b="-100000"/>
                </a:gradFill>
              </a:rPr>
              <a:t>Методика оценки структуры ВГП по полному кругу отраслей в соответствии с </a:t>
            </a:r>
            <a:r>
              <a:rPr lang="ru-RU" dirty="0" smtClean="0">
                <a:gradFill flip="none" rotWithShape="1">
                  <a:gsLst>
                    <a:gs pos="0">
                      <a:srgbClr val="5B9BD5">
                        <a:lumMod val="50000"/>
                      </a:srgbClr>
                    </a:gs>
                    <a:gs pos="100000">
                      <a:srgbClr val="5B9BD5">
                        <a:lumMod val="75000"/>
                      </a:srgbClr>
                    </a:gs>
                  </a:gsLst>
                  <a:path path="circle">
                    <a:fillToRect t="100000" r="100000"/>
                  </a:path>
                  <a:tileRect l="-100000" b="-100000"/>
                </a:gradFill>
              </a:rPr>
              <a:t>ОКВЭД 2007*</a:t>
            </a:r>
            <a:endParaRPr lang="ru-RU" dirty="0">
              <a:gradFill flip="none" rotWithShape="1">
                <a:gsLst>
                  <a:gs pos="0">
                    <a:srgbClr val="5B9BD5">
                      <a:lumMod val="50000"/>
                    </a:srgbClr>
                  </a:gs>
                  <a:gs pos="100000">
                    <a:srgbClr val="5B9BD5">
                      <a:lumMod val="75000"/>
                    </a:srgbClr>
                  </a:gs>
                </a:gsLst>
                <a:path path="circle">
                  <a:fillToRect t="100000" r="100000"/>
                </a:path>
                <a:tileRect l="-100000" b="-100000"/>
              </a:gra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350813" y="6383659"/>
            <a:ext cx="62863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* Данные Росстата в соответствии с ОКВЭД 2 пока недоступны</a:t>
            </a:r>
            <a:endParaRPr lang="ru-RU" sz="1400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56680" y="1691127"/>
            <a:ext cx="8090188" cy="53553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ru-RU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ля оценки </a:t>
            </a:r>
            <a:r>
              <a:rPr lang="ru-RU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труктуры ВГП </a:t>
            </a:r>
            <a:r>
              <a:rPr lang="ru-RU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спользуется </a:t>
            </a:r>
            <a:r>
              <a:rPr lang="ru-RU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такая же методика</a:t>
            </a:r>
            <a:r>
              <a:rPr lang="ru-RU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ru-RU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ак и для оценки ВГП, </a:t>
            </a:r>
            <a:r>
              <a:rPr lang="ru-RU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снованная на применении метода по источникам образования </a:t>
            </a:r>
            <a:r>
              <a:rPr lang="ru-RU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оходов</a:t>
            </a:r>
          </a:p>
          <a:p>
            <a:pPr marL="285750" indent="-285750">
              <a:buFont typeface="Arial" pitchFamily="34" charset="0"/>
              <a:buChar char="•"/>
            </a:pPr>
            <a:endParaRPr lang="ru-RU" dirty="0" smtClean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ru-RU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оля отрасли в ВГП агломерации определяется как доля фонда заработной платы работников организаций (без субъектов малого бизнеса) </a:t>
            </a:r>
            <a:r>
              <a:rPr lang="en-US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отрасли (суммарно по всем муниципальным образованиям агломерации) в общем фонде заработной платы работников организаций в муниципальных образованиях агломерации</a:t>
            </a:r>
          </a:p>
          <a:p>
            <a:pPr marL="285750" indent="-285750">
              <a:buFont typeface="Arial" pitchFamily="34" charset="0"/>
              <a:buChar char="•"/>
            </a:pPr>
            <a:endParaRPr lang="ru-RU" dirty="0" smtClean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ru-RU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аловая добавленная стоимость, производимая в отрасли, оценивается в рыночных ценах (то есть включая чистые налоги на продукты)</a:t>
            </a:r>
          </a:p>
          <a:p>
            <a:pPr marL="285750" indent="-285750">
              <a:buFont typeface="Arial" pitchFamily="34" charset="0"/>
              <a:buChar char="•"/>
            </a:pPr>
            <a:endParaRPr lang="ru-RU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ru-RU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ценка проводится в разрезе всех отраслей кроме отрасли Р (деятельность домашних хозяйств)</a:t>
            </a:r>
          </a:p>
          <a:p>
            <a:endParaRPr lang="ru-RU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dirty="0" smtClean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lang="ru-RU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58633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4_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5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6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8_Blank">
  <a:themeElements>
    <a:clrScheme name="Другая 9">
      <a:dk1>
        <a:srgbClr val="000000"/>
      </a:dk1>
      <a:lt1>
        <a:srgbClr val="FFFFFF"/>
      </a:lt1>
      <a:dk2>
        <a:srgbClr val="0080C7"/>
      </a:dk2>
      <a:lt2>
        <a:srgbClr val="3C3C3C"/>
      </a:lt2>
      <a:accent1>
        <a:srgbClr val="DDDDDD"/>
      </a:accent1>
      <a:accent2>
        <a:srgbClr val="C0C0C0"/>
      </a:accent2>
      <a:accent3>
        <a:srgbClr val="969696"/>
      </a:accent3>
      <a:accent4>
        <a:srgbClr val="777777"/>
      </a:accent4>
      <a:accent5>
        <a:srgbClr val="FF1C24"/>
      </a:accent5>
      <a:accent6>
        <a:srgbClr val="18A7B5"/>
      </a:accent6>
      <a:hlink>
        <a:srgbClr val="969696"/>
      </a:hlink>
      <a:folHlink>
        <a:srgbClr val="777777"/>
      </a:folHlink>
    </a:clrScheme>
    <a:fontScheme name="Strategy Partner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овый шаблон_3_сдвинутый.potx" id="{D9D57DEB-7AC2-4CDE-B09D-F9C836B0FCCA}" vid="{C7B51112-53E4-43DD-803F-E64FD4D1F1C7}"/>
    </a:ext>
  </a:extLst>
</a:theme>
</file>

<file path=ppt/theme/theme3.xml><?xml version="1.0" encoding="utf-8"?>
<a:theme xmlns:a="http://schemas.openxmlformats.org/drawingml/2006/main" name="30_Blank">
  <a:themeElements>
    <a:clrScheme name="Другая 9">
      <a:dk1>
        <a:srgbClr val="000000"/>
      </a:dk1>
      <a:lt1>
        <a:srgbClr val="FFFFFF"/>
      </a:lt1>
      <a:dk2>
        <a:srgbClr val="0080C7"/>
      </a:dk2>
      <a:lt2>
        <a:srgbClr val="3C3C3C"/>
      </a:lt2>
      <a:accent1>
        <a:srgbClr val="DDDDDD"/>
      </a:accent1>
      <a:accent2>
        <a:srgbClr val="C0C0C0"/>
      </a:accent2>
      <a:accent3>
        <a:srgbClr val="969696"/>
      </a:accent3>
      <a:accent4>
        <a:srgbClr val="777777"/>
      </a:accent4>
      <a:accent5>
        <a:srgbClr val="FF1C24"/>
      </a:accent5>
      <a:accent6>
        <a:srgbClr val="18A7B5"/>
      </a:accent6>
      <a:hlink>
        <a:srgbClr val="969696"/>
      </a:hlink>
      <a:folHlink>
        <a:srgbClr val="777777"/>
      </a:folHlink>
    </a:clrScheme>
    <a:fontScheme name="Strategy Partner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овый шаблон_3_сдвинутый.potx" id="{D9D57DEB-7AC2-4CDE-B09D-F9C836B0FCCA}" vid="{C7B51112-53E4-43DD-803F-E64FD4D1F1C7}"/>
    </a:ext>
  </a:extLst>
</a:theme>
</file>

<file path=ppt/theme/theme4.xml><?xml version="1.0" encoding="utf-8"?>
<a:theme xmlns:a="http://schemas.openxmlformats.org/drawingml/2006/main" name="31_Blank">
  <a:themeElements>
    <a:clrScheme name="Другая 9">
      <a:dk1>
        <a:srgbClr val="000000"/>
      </a:dk1>
      <a:lt1>
        <a:srgbClr val="FFFFFF"/>
      </a:lt1>
      <a:dk2>
        <a:srgbClr val="0080C7"/>
      </a:dk2>
      <a:lt2>
        <a:srgbClr val="3C3C3C"/>
      </a:lt2>
      <a:accent1>
        <a:srgbClr val="DDDDDD"/>
      </a:accent1>
      <a:accent2>
        <a:srgbClr val="C0C0C0"/>
      </a:accent2>
      <a:accent3>
        <a:srgbClr val="969696"/>
      </a:accent3>
      <a:accent4>
        <a:srgbClr val="777777"/>
      </a:accent4>
      <a:accent5>
        <a:srgbClr val="FF1C24"/>
      </a:accent5>
      <a:accent6>
        <a:srgbClr val="18A7B5"/>
      </a:accent6>
      <a:hlink>
        <a:srgbClr val="969696"/>
      </a:hlink>
      <a:folHlink>
        <a:srgbClr val="777777"/>
      </a:folHlink>
    </a:clrScheme>
    <a:fontScheme name="Strategy Partner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овый шаблон_3_сдвинутый.potx" id="{D9D57DEB-7AC2-4CDE-B09D-F9C836B0FCCA}" vid="{C7B51112-53E4-43DD-803F-E64FD4D1F1C7}"/>
    </a:ext>
  </a:extLst>
</a:theme>
</file>

<file path=ppt/theme/theme5.xml><?xml version="1.0" encoding="utf-8"?>
<a:theme xmlns:a="http://schemas.openxmlformats.org/drawingml/2006/main" name="3_Blank">
  <a:themeElements>
    <a:clrScheme name="Другая 9">
      <a:dk1>
        <a:srgbClr val="000000"/>
      </a:dk1>
      <a:lt1>
        <a:srgbClr val="FFFFFF"/>
      </a:lt1>
      <a:dk2>
        <a:srgbClr val="0080C7"/>
      </a:dk2>
      <a:lt2>
        <a:srgbClr val="3C3C3C"/>
      </a:lt2>
      <a:accent1>
        <a:srgbClr val="DDDDDD"/>
      </a:accent1>
      <a:accent2>
        <a:srgbClr val="C0C0C0"/>
      </a:accent2>
      <a:accent3>
        <a:srgbClr val="969696"/>
      </a:accent3>
      <a:accent4>
        <a:srgbClr val="777777"/>
      </a:accent4>
      <a:accent5>
        <a:srgbClr val="FF1C24"/>
      </a:accent5>
      <a:accent6>
        <a:srgbClr val="18A7B5"/>
      </a:accent6>
      <a:hlink>
        <a:srgbClr val="969696"/>
      </a:hlink>
      <a:folHlink>
        <a:srgbClr val="777777"/>
      </a:folHlink>
    </a:clrScheme>
    <a:fontScheme name="Strategy Partner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овый шаблон_3_сдвинутый.potx" id="{D9D57DEB-7AC2-4CDE-B09D-F9C836B0FCCA}" vid="{C7B51112-53E4-43DD-803F-E64FD4D1F1C7}"/>
    </a:ext>
  </a:extLst>
</a:theme>
</file>

<file path=ppt/theme/theme6.xml><?xml version="1.0" encoding="utf-8"?>
<a:theme xmlns:a="http://schemas.openxmlformats.org/drawingml/2006/main" name="10_Blank">
  <a:themeElements>
    <a:clrScheme name="Другая 9">
      <a:dk1>
        <a:srgbClr val="000000"/>
      </a:dk1>
      <a:lt1>
        <a:srgbClr val="FFFFFF"/>
      </a:lt1>
      <a:dk2>
        <a:srgbClr val="0080C7"/>
      </a:dk2>
      <a:lt2>
        <a:srgbClr val="3C3C3C"/>
      </a:lt2>
      <a:accent1>
        <a:srgbClr val="DDDDDD"/>
      </a:accent1>
      <a:accent2>
        <a:srgbClr val="C0C0C0"/>
      </a:accent2>
      <a:accent3>
        <a:srgbClr val="969696"/>
      </a:accent3>
      <a:accent4>
        <a:srgbClr val="777777"/>
      </a:accent4>
      <a:accent5>
        <a:srgbClr val="FF1C24"/>
      </a:accent5>
      <a:accent6>
        <a:srgbClr val="18A7B5"/>
      </a:accent6>
      <a:hlink>
        <a:srgbClr val="969696"/>
      </a:hlink>
      <a:folHlink>
        <a:srgbClr val="777777"/>
      </a:folHlink>
    </a:clrScheme>
    <a:fontScheme name="Strategy Partner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овый шаблон_3_сдвинутый.potx" id="{D9D57DEB-7AC2-4CDE-B09D-F9C836B0FCCA}" vid="{C7B51112-53E4-43DD-803F-E64FD4D1F1C7}"/>
    </a:ext>
  </a:extLst>
</a:theme>
</file>

<file path=ppt/theme/theme7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150</TotalTime>
  <Words>5119</Words>
  <Application>Microsoft Office PowerPoint</Application>
  <PresentationFormat>Экран (4:3)</PresentationFormat>
  <Paragraphs>1236</Paragraphs>
  <Slides>50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1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0</vt:i4>
      </vt:variant>
    </vt:vector>
  </HeadingPairs>
  <TitlesOfParts>
    <vt:vector size="63" baseType="lpstr">
      <vt:lpstr>Тема Office</vt:lpstr>
      <vt:lpstr>28_Blank</vt:lpstr>
      <vt:lpstr>30_Blank</vt:lpstr>
      <vt:lpstr>31_Blank</vt:lpstr>
      <vt:lpstr>3_Blank</vt:lpstr>
      <vt:lpstr>10_Blank</vt:lpstr>
      <vt:lpstr>2_Тема Office</vt:lpstr>
      <vt:lpstr>3_Тема Office</vt:lpstr>
      <vt:lpstr>1_Тема Office</vt:lpstr>
      <vt:lpstr>4_Тема Office</vt:lpstr>
      <vt:lpstr>5_Тема Office</vt:lpstr>
      <vt:lpstr>6_Тема Office</vt:lpstr>
      <vt:lpstr>think-cell Slide</vt:lpstr>
      <vt:lpstr>Презентация PowerPoint</vt:lpstr>
      <vt:lpstr>Экономика крупнейших городских агломераций</vt:lpstr>
      <vt:lpstr>Выборка 45 исследуемых городских агломераций </vt:lpstr>
      <vt:lpstr>Вклад исследуемых агломераций в ввп в 2016 году</vt:lpstr>
      <vt:lpstr>Лидеры рейтинга 45 агломераций по вгп в 2016 году</vt:lpstr>
      <vt:lpstr>Аутсайдеры рейтинга 45 агломераций по вгп в 2016 году</vt:lpstr>
      <vt:lpstr>ВГП на душу населения в 45 агломерациях в 2016 году</vt:lpstr>
      <vt:lpstr>Агломерационные эффекты и проциклическое развитие</vt:lpstr>
      <vt:lpstr>Презентация PowerPoint</vt:lpstr>
      <vt:lpstr>результаты оценки структуры ВГП 45 агломераций</vt:lpstr>
      <vt:lpstr>Типология исследуемых агломераций по уровню экономического развития и потенциалу структурных сдвигов в экономике</vt:lpstr>
      <vt:lpstr>классификация ОТРАСЛЕЙ ДЛЯ ЦЕЛЕЙ ТипологиИ исследуемых агломераций по уровню экономического развития и потенциалу структурных сдвигов в экономике</vt:lpstr>
      <vt:lpstr>классификация ОТРАСЛЕЙ ДЛЯ ЦЕЛЕЙ ТипологиИ исследуемых агломераций по уровню экономического развития и потенциалу структурных сдвигов в экономике</vt:lpstr>
      <vt:lpstr>Критерии типологии</vt:lpstr>
      <vt:lpstr>Типология исследуемых агломераций по уровню экономического развития и потенциалу структурных сдвигов в экономике</vt:lpstr>
      <vt:lpstr>Агломерации с развитой современной городской экономикой</vt:lpstr>
      <vt:lpstr>Агломерации с ресурсной экономикой и слабым потенциалом структурных сдвигов</vt:lpstr>
      <vt:lpstr>Агломерации с промышленной экономикой и умеренным потенциалом структурных сдвигов</vt:lpstr>
      <vt:lpstr>Агломерации с депрессивной экономикой и неясными перспективами структурных сдвигов</vt:lpstr>
      <vt:lpstr>Агломерации с депрессивной экономикой и неясными перспективами структурных сдвигов</vt:lpstr>
      <vt:lpstr>Выводы и рекомендации</vt:lpstr>
      <vt:lpstr>Краткая характеристика градостроительного развития  Краснодарской агломерации (Основано на исследовании «Анализ состояния жилищной сферы на территориях основных российских городских агломераций», выполненного по заказу АО "ДОМ.РФ")</vt:lpstr>
      <vt:lpstr>Жилищные условия в российских агломерациях</vt:lpstr>
      <vt:lpstr>Жилищные условия в зарубежных агломерациях</vt:lpstr>
      <vt:lpstr>Предложение на первичном рынке жилья в российских агломерациях</vt:lpstr>
      <vt:lpstr>Предложение на первичном рынке жилья в зарубежных агломерциях</vt:lpstr>
      <vt:lpstr>Активность жилищного строительства в российских аглморациях</vt:lpstr>
      <vt:lpstr> Модели градостроительного освоения территорий в российских агломерациях</vt:lpstr>
      <vt:lpstr>Эластичность предложения нового жилья</vt:lpstr>
      <vt:lpstr>Доступность жилья в российских агломерациях</vt:lpstr>
      <vt:lpstr>Доступность жилья в зарубежных агломерациях</vt:lpstr>
      <vt:lpstr>Градостроительный и инвестиционный потенциал российских агломераций до 2050 г.</vt:lpstr>
      <vt:lpstr>Рейтинг агломераций по градостроительному потенциалу (по отношению потенциала к существующему жилищному фонду)</vt:lpstr>
      <vt:lpstr>Рейтинг агломераций по индексу жесткости градостроительного регулирования</vt:lpstr>
      <vt:lpstr>Рейтинг агломераций по индексу городского расползания</vt:lpstr>
      <vt:lpstr>Презентация PowerPoint</vt:lpstr>
      <vt:lpstr>Презентация PowerPoint</vt:lpstr>
      <vt:lpstr>Краткая характеристика градостроительного развития  Пермской агломерации (Основано на исследовании «Анализ состояния жилищной сферы на территориях основных российских городских агломераций», выполненного по заказу АО "ДОМ.РФ")</vt:lpstr>
      <vt:lpstr>Краткая характеристика градостроительного развития  Нижегородской агломерации (Основано на исследовании «Анализ состояния жилищной сферы на территориях основных российских городских агломераций», выполненного по заказу АО "ДОМ.РФ")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ля В. Лифанова</dc:creator>
  <cp:lastModifiedBy>Татьяна Полиди</cp:lastModifiedBy>
  <cp:revision>787</cp:revision>
  <dcterms:created xsi:type="dcterms:W3CDTF">2017-09-06T09:11:37Z</dcterms:created>
  <dcterms:modified xsi:type="dcterms:W3CDTF">2019-07-22T11:07:21Z</dcterms:modified>
</cp:coreProperties>
</file>